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73" r:id="rId4"/>
    <p:sldMasterId id="2147484161" r:id="rId5"/>
    <p:sldMasterId id="2147484278" r:id="rId6"/>
  </p:sldMasterIdLst>
  <p:notesMasterIdLst>
    <p:notesMasterId r:id="rId16"/>
  </p:notesMasterIdLst>
  <p:handoutMasterIdLst>
    <p:handoutMasterId r:id="rId17"/>
  </p:handoutMasterIdLst>
  <p:sldIdLst>
    <p:sldId id="353" r:id="rId7"/>
    <p:sldId id="3256" r:id="rId8"/>
    <p:sldId id="3257" r:id="rId9"/>
    <p:sldId id="3250" r:id="rId10"/>
    <p:sldId id="3392" r:id="rId11"/>
    <p:sldId id="3393" r:id="rId12"/>
    <p:sldId id="3395" r:id="rId13"/>
    <p:sldId id="3396" r:id="rId14"/>
    <p:sldId id="3397" r:id="rId15"/>
  </p:sldIdLst>
  <p:sldSz cx="12192000" cy="6858000"/>
  <p:notesSz cx="6797675" cy="987266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5835A"/>
    <a:srgbClr val="66FF66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136ABB0-5E07-4FDA-BC98-31E67987D5C7}" v="2826" dt="2020-08-19T18:18:07.06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2" d="100"/>
          <a:sy n="62" d="100"/>
        </p:scale>
        <p:origin x="828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microsoft.com/office/2015/10/relationships/revisionInfo" Target="revisionInfo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 Hokin" userId="716caab2-0991-4278-8ec6-0588b66ef10d" providerId="ADAL" clId="{3136ABB0-5E07-4FDA-BC98-31E67987D5C7}"/>
    <pc:docChg chg="undo custSel addSld delSld modSld sldOrd delMainMaster">
      <pc:chgData name="Robert Hokin" userId="716caab2-0991-4278-8ec6-0588b66ef10d" providerId="ADAL" clId="{3136ABB0-5E07-4FDA-BC98-31E67987D5C7}" dt="2020-08-19T18:18:07.061" v="10004" actId="20577"/>
      <pc:docMkLst>
        <pc:docMk/>
      </pc:docMkLst>
      <pc:sldChg chg="del">
        <pc:chgData name="Robert Hokin" userId="716caab2-0991-4278-8ec6-0588b66ef10d" providerId="ADAL" clId="{3136ABB0-5E07-4FDA-BC98-31E67987D5C7}" dt="2020-08-13T16:57:19.122" v="186" actId="47"/>
        <pc:sldMkLst>
          <pc:docMk/>
          <pc:sldMk cId="2621690748" sldId="256"/>
        </pc:sldMkLst>
      </pc:sldChg>
      <pc:sldChg chg="del">
        <pc:chgData name="Robert Hokin" userId="716caab2-0991-4278-8ec6-0588b66ef10d" providerId="ADAL" clId="{3136ABB0-5E07-4FDA-BC98-31E67987D5C7}" dt="2020-08-13T16:57:13.987" v="182" actId="47"/>
        <pc:sldMkLst>
          <pc:docMk/>
          <pc:sldMk cId="0" sldId="257"/>
        </pc:sldMkLst>
      </pc:sldChg>
      <pc:sldChg chg="del">
        <pc:chgData name="Robert Hokin" userId="716caab2-0991-4278-8ec6-0588b66ef10d" providerId="ADAL" clId="{3136ABB0-5E07-4FDA-BC98-31E67987D5C7}" dt="2020-08-13T16:57:14.753" v="183" actId="47"/>
        <pc:sldMkLst>
          <pc:docMk/>
          <pc:sldMk cId="0" sldId="258"/>
        </pc:sldMkLst>
      </pc:sldChg>
      <pc:sldChg chg="del">
        <pc:chgData name="Robert Hokin" userId="716caab2-0991-4278-8ec6-0588b66ef10d" providerId="ADAL" clId="{3136ABB0-5E07-4FDA-BC98-31E67987D5C7}" dt="2020-08-13T16:56:23.687" v="91" actId="47"/>
        <pc:sldMkLst>
          <pc:docMk/>
          <pc:sldMk cId="7069423" sldId="259"/>
        </pc:sldMkLst>
      </pc:sldChg>
      <pc:sldChg chg="del">
        <pc:chgData name="Robert Hokin" userId="716caab2-0991-4278-8ec6-0588b66ef10d" providerId="ADAL" clId="{3136ABB0-5E07-4FDA-BC98-31E67987D5C7}" dt="2020-08-13T16:57:16.024" v="184" actId="47"/>
        <pc:sldMkLst>
          <pc:docMk/>
          <pc:sldMk cId="0" sldId="260"/>
        </pc:sldMkLst>
      </pc:sldChg>
      <pc:sldChg chg="del">
        <pc:chgData name="Robert Hokin" userId="716caab2-0991-4278-8ec6-0588b66ef10d" providerId="ADAL" clId="{3136ABB0-5E07-4FDA-BC98-31E67987D5C7}" dt="2020-08-13T16:56:46.988" v="129" actId="47"/>
        <pc:sldMkLst>
          <pc:docMk/>
          <pc:sldMk cId="0" sldId="261"/>
        </pc:sldMkLst>
      </pc:sldChg>
      <pc:sldChg chg="del">
        <pc:chgData name="Robert Hokin" userId="716caab2-0991-4278-8ec6-0588b66ef10d" providerId="ADAL" clId="{3136ABB0-5E07-4FDA-BC98-31E67987D5C7}" dt="2020-08-13T16:57:10.266" v="171" actId="47"/>
        <pc:sldMkLst>
          <pc:docMk/>
          <pc:sldMk cId="641255019" sldId="263"/>
        </pc:sldMkLst>
      </pc:sldChg>
      <pc:sldChg chg="del">
        <pc:chgData name="Robert Hokin" userId="716caab2-0991-4278-8ec6-0588b66ef10d" providerId="ADAL" clId="{3136ABB0-5E07-4FDA-BC98-31E67987D5C7}" dt="2020-08-13T16:56:49.988" v="137" actId="47"/>
        <pc:sldMkLst>
          <pc:docMk/>
          <pc:sldMk cId="0" sldId="264"/>
        </pc:sldMkLst>
      </pc:sldChg>
      <pc:sldChg chg="del">
        <pc:chgData name="Robert Hokin" userId="716caab2-0991-4278-8ec6-0588b66ef10d" providerId="ADAL" clId="{3136ABB0-5E07-4FDA-BC98-31E67987D5C7}" dt="2020-08-13T16:56:47.376" v="131" actId="47"/>
        <pc:sldMkLst>
          <pc:docMk/>
          <pc:sldMk cId="0" sldId="265"/>
        </pc:sldMkLst>
      </pc:sldChg>
      <pc:sldChg chg="del">
        <pc:chgData name="Robert Hokin" userId="716caab2-0991-4278-8ec6-0588b66ef10d" providerId="ADAL" clId="{3136ABB0-5E07-4FDA-BC98-31E67987D5C7}" dt="2020-08-13T16:56:24.491" v="92" actId="47"/>
        <pc:sldMkLst>
          <pc:docMk/>
          <pc:sldMk cId="2102207691" sldId="267"/>
        </pc:sldMkLst>
      </pc:sldChg>
      <pc:sldChg chg="del">
        <pc:chgData name="Robert Hokin" userId="716caab2-0991-4278-8ec6-0588b66ef10d" providerId="ADAL" clId="{3136ABB0-5E07-4FDA-BC98-31E67987D5C7}" dt="2020-08-13T16:56:28.454" v="94" actId="47"/>
        <pc:sldMkLst>
          <pc:docMk/>
          <pc:sldMk cId="1907780214" sldId="268"/>
        </pc:sldMkLst>
      </pc:sldChg>
      <pc:sldChg chg="del">
        <pc:chgData name="Robert Hokin" userId="716caab2-0991-4278-8ec6-0588b66ef10d" providerId="ADAL" clId="{3136ABB0-5E07-4FDA-BC98-31E67987D5C7}" dt="2020-08-13T16:56:29.149" v="95" actId="47"/>
        <pc:sldMkLst>
          <pc:docMk/>
          <pc:sldMk cId="2079940907" sldId="269"/>
        </pc:sldMkLst>
      </pc:sldChg>
      <pc:sldChg chg="del">
        <pc:chgData name="Robert Hokin" userId="716caab2-0991-4278-8ec6-0588b66ef10d" providerId="ADAL" clId="{3136ABB0-5E07-4FDA-BC98-31E67987D5C7}" dt="2020-08-13T16:56:46.471" v="127" actId="47"/>
        <pc:sldMkLst>
          <pc:docMk/>
          <pc:sldMk cId="1096358168" sldId="270"/>
        </pc:sldMkLst>
      </pc:sldChg>
      <pc:sldChg chg="add del">
        <pc:chgData name="Robert Hokin" userId="716caab2-0991-4278-8ec6-0588b66ef10d" providerId="ADAL" clId="{3136ABB0-5E07-4FDA-BC98-31E67987D5C7}" dt="2020-08-14T08:16:57.876" v="2522" actId="47"/>
        <pc:sldMkLst>
          <pc:docMk/>
          <pc:sldMk cId="917141" sldId="271"/>
        </pc:sldMkLst>
      </pc:sldChg>
      <pc:sldChg chg="del">
        <pc:chgData name="Robert Hokin" userId="716caab2-0991-4278-8ec6-0588b66ef10d" providerId="ADAL" clId="{3136ABB0-5E07-4FDA-BC98-31E67987D5C7}" dt="2020-08-13T16:56:18.819" v="87" actId="47"/>
        <pc:sldMkLst>
          <pc:docMk/>
          <pc:sldMk cId="11503167" sldId="272"/>
        </pc:sldMkLst>
      </pc:sldChg>
      <pc:sldChg chg="del">
        <pc:chgData name="Robert Hokin" userId="716caab2-0991-4278-8ec6-0588b66ef10d" providerId="ADAL" clId="{3136ABB0-5E07-4FDA-BC98-31E67987D5C7}" dt="2020-08-13T16:56:47.164" v="130" actId="47"/>
        <pc:sldMkLst>
          <pc:docMk/>
          <pc:sldMk cId="1794587301" sldId="273"/>
        </pc:sldMkLst>
      </pc:sldChg>
      <pc:sldChg chg="del">
        <pc:chgData name="Robert Hokin" userId="716caab2-0991-4278-8ec6-0588b66ef10d" providerId="ADAL" clId="{3136ABB0-5E07-4FDA-BC98-31E67987D5C7}" dt="2020-08-13T16:55:01.322" v="35" actId="47"/>
        <pc:sldMkLst>
          <pc:docMk/>
          <pc:sldMk cId="2728454926" sldId="274"/>
        </pc:sldMkLst>
      </pc:sldChg>
      <pc:sldChg chg="del">
        <pc:chgData name="Robert Hokin" userId="716caab2-0991-4278-8ec6-0588b66ef10d" providerId="ADAL" clId="{3136ABB0-5E07-4FDA-BC98-31E67987D5C7}" dt="2020-08-13T16:55:02.172" v="37" actId="47"/>
        <pc:sldMkLst>
          <pc:docMk/>
          <pc:sldMk cId="541478545" sldId="275"/>
        </pc:sldMkLst>
      </pc:sldChg>
      <pc:sldChg chg="delSp add del mod">
        <pc:chgData name="Robert Hokin" userId="716caab2-0991-4278-8ec6-0588b66ef10d" providerId="ADAL" clId="{3136ABB0-5E07-4FDA-BC98-31E67987D5C7}" dt="2020-08-14T08:15:38.862" v="2508" actId="47"/>
        <pc:sldMkLst>
          <pc:docMk/>
          <pc:sldMk cId="3851351242" sldId="276"/>
        </pc:sldMkLst>
        <pc:spChg chg="del">
          <ac:chgData name="Robert Hokin" userId="716caab2-0991-4278-8ec6-0588b66ef10d" providerId="ADAL" clId="{3136ABB0-5E07-4FDA-BC98-31E67987D5C7}" dt="2020-08-14T08:13:27.198" v="2227" actId="21"/>
          <ac:spMkLst>
            <pc:docMk/>
            <pc:sldMk cId="3851351242" sldId="276"/>
            <ac:spMk id="18" creationId="{58333B17-F2DA-4260-A0BA-36824A9AEEEB}"/>
          </ac:spMkLst>
        </pc:spChg>
      </pc:sldChg>
      <pc:sldChg chg="del">
        <pc:chgData name="Robert Hokin" userId="716caab2-0991-4278-8ec6-0588b66ef10d" providerId="ADAL" clId="{3136ABB0-5E07-4FDA-BC98-31E67987D5C7}" dt="2020-08-13T16:56:48.543" v="135" actId="47"/>
        <pc:sldMkLst>
          <pc:docMk/>
          <pc:sldMk cId="2530954883" sldId="278"/>
        </pc:sldMkLst>
      </pc:sldChg>
      <pc:sldChg chg="del">
        <pc:chgData name="Robert Hokin" userId="716caab2-0991-4278-8ec6-0588b66ef10d" providerId="ADAL" clId="{3136ABB0-5E07-4FDA-BC98-31E67987D5C7}" dt="2020-08-13T16:56:26.723" v="93" actId="47"/>
        <pc:sldMkLst>
          <pc:docMk/>
          <pc:sldMk cId="472731399" sldId="279"/>
        </pc:sldMkLst>
      </pc:sldChg>
      <pc:sldChg chg="del">
        <pc:chgData name="Robert Hokin" userId="716caab2-0991-4278-8ec6-0588b66ef10d" providerId="ADAL" clId="{3136ABB0-5E07-4FDA-BC98-31E67987D5C7}" dt="2020-08-13T16:55:10.472" v="54" actId="47"/>
        <pc:sldMkLst>
          <pc:docMk/>
          <pc:sldMk cId="1567114209" sldId="280"/>
        </pc:sldMkLst>
      </pc:sldChg>
      <pc:sldChg chg="del">
        <pc:chgData name="Robert Hokin" userId="716caab2-0991-4278-8ec6-0588b66ef10d" providerId="ADAL" clId="{3136ABB0-5E07-4FDA-BC98-31E67987D5C7}" dt="2020-08-13T16:56:54.487" v="148" actId="47"/>
        <pc:sldMkLst>
          <pc:docMk/>
          <pc:sldMk cId="3449010" sldId="318"/>
        </pc:sldMkLst>
      </pc:sldChg>
      <pc:sldChg chg="del">
        <pc:chgData name="Robert Hokin" userId="716caab2-0991-4278-8ec6-0588b66ef10d" providerId="ADAL" clId="{3136ABB0-5E07-4FDA-BC98-31E67987D5C7}" dt="2020-08-13T16:55:13.166" v="63" actId="47"/>
        <pc:sldMkLst>
          <pc:docMk/>
          <pc:sldMk cId="2889227851" sldId="331"/>
        </pc:sldMkLst>
      </pc:sldChg>
      <pc:sldChg chg="del">
        <pc:chgData name="Robert Hokin" userId="716caab2-0991-4278-8ec6-0588b66ef10d" providerId="ADAL" clId="{3136ABB0-5E07-4FDA-BC98-31E67987D5C7}" dt="2020-08-13T16:55:13.798" v="66" actId="47"/>
        <pc:sldMkLst>
          <pc:docMk/>
          <pc:sldMk cId="1277174173" sldId="335"/>
        </pc:sldMkLst>
      </pc:sldChg>
      <pc:sldChg chg="del">
        <pc:chgData name="Robert Hokin" userId="716caab2-0991-4278-8ec6-0588b66ef10d" providerId="ADAL" clId="{3136ABB0-5E07-4FDA-BC98-31E67987D5C7}" dt="2020-08-13T16:55:14.399" v="68" actId="47"/>
        <pc:sldMkLst>
          <pc:docMk/>
          <pc:sldMk cId="1580111059" sldId="352"/>
        </pc:sldMkLst>
      </pc:sldChg>
      <pc:sldChg chg="addSp delSp modSp mod">
        <pc:chgData name="Robert Hokin" userId="716caab2-0991-4278-8ec6-0588b66ef10d" providerId="ADAL" clId="{3136ABB0-5E07-4FDA-BC98-31E67987D5C7}" dt="2020-08-19T12:14:58.548" v="2881" actId="114"/>
        <pc:sldMkLst>
          <pc:docMk/>
          <pc:sldMk cId="2790627176" sldId="353"/>
        </pc:sldMkLst>
        <pc:spChg chg="add mod">
          <ac:chgData name="Robert Hokin" userId="716caab2-0991-4278-8ec6-0588b66ef10d" providerId="ADAL" clId="{3136ABB0-5E07-4FDA-BC98-31E67987D5C7}" dt="2020-08-19T12:13:14.578" v="2841" actId="20577"/>
          <ac:spMkLst>
            <pc:docMk/>
            <pc:sldMk cId="2790627176" sldId="353"/>
            <ac:spMk id="4" creationId="{FFBDED99-09EE-4623-A5CA-27FF92A9BA1A}"/>
          </ac:spMkLst>
        </pc:spChg>
        <pc:spChg chg="add del mod">
          <ac:chgData name="Robert Hokin" userId="716caab2-0991-4278-8ec6-0588b66ef10d" providerId="ADAL" clId="{3136ABB0-5E07-4FDA-BC98-31E67987D5C7}" dt="2020-08-14T07:58:00.224" v="1759" actId="478"/>
          <ac:spMkLst>
            <pc:docMk/>
            <pc:sldMk cId="2790627176" sldId="353"/>
            <ac:spMk id="6" creationId="{2064516D-324B-4EA7-82A6-974F88F3F2DE}"/>
          </ac:spMkLst>
        </pc:spChg>
        <pc:spChg chg="add del">
          <ac:chgData name="Robert Hokin" userId="716caab2-0991-4278-8ec6-0588b66ef10d" providerId="ADAL" clId="{3136ABB0-5E07-4FDA-BC98-31E67987D5C7}" dt="2020-08-19T12:11:06.866" v="2640" actId="22"/>
          <ac:spMkLst>
            <pc:docMk/>
            <pc:sldMk cId="2790627176" sldId="353"/>
            <ac:spMk id="6" creationId="{690EE31B-FEE7-4B53-A1D9-1D7C0326885F}"/>
          </ac:spMkLst>
        </pc:spChg>
        <pc:spChg chg="add mod">
          <ac:chgData name="Robert Hokin" userId="716caab2-0991-4278-8ec6-0588b66ef10d" providerId="ADAL" clId="{3136ABB0-5E07-4FDA-BC98-31E67987D5C7}" dt="2020-08-19T12:14:58.548" v="2881" actId="114"/>
          <ac:spMkLst>
            <pc:docMk/>
            <pc:sldMk cId="2790627176" sldId="353"/>
            <ac:spMk id="7" creationId="{519615A1-F7DF-4986-9C4D-3B7999196EAC}"/>
          </ac:spMkLst>
        </pc:spChg>
        <pc:spChg chg="del">
          <ac:chgData name="Robert Hokin" userId="716caab2-0991-4278-8ec6-0588b66ef10d" providerId="ADAL" clId="{3136ABB0-5E07-4FDA-BC98-31E67987D5C7}" dt="2020-08-13T16:58:50.886" v="204" actId="478"/>
          <ac:spMkLst>
            <pc:docMk/>
            <pc:sldMk cId="2790627176" sldId="353"/>
            <ac:spMk id="14" creationId="{017A333B-41BE-4149-B5EC-AC30E0A214AD}"/>
          </ac:spMkLst>
        </pc:spChg>
        <pc:spChg chg="del mod">
          <ac:chgData name="Robert Hokin" userId="716caab2-0991-4278-8ec6-0588b66ef10d" providerId="ADAL" clId="{3136ABB0-5E07-4FDA-BC98-31E67987D5C7}" dt="2020-08-13T16:59:54.834" v="453" actId="478"/>
          <ac:spMkLst>
            <pc:docMk/>
            <pc:sldMk cId="2790627176" sldId="353"/>
            <ac:spMk id="15" creationId="{75C04145-4CE2-40B7-B7C6-F35F625F8D0E}"/>
          </ac:spMkLst>
        </pc:spChg>
        <pc:spChg chg="del">
          <ac:chgData name="Robert Hokin" userId="716caab2-0991-4278-8ec6-0588b66ef10d" providerId="ADAL" clId="{3136ABB0-5E07-4FDA-BC98-31E67987D5C7}" dt="2020-08-13T16:59:10.209" v="208" actId="478"/>
          <ac:spMkLst>
            <pc:docMk/>
            <pc:sldMk cId="2790627176" sldId="353"/>
            <ac:spMk id="21" creationId="{72D904BE-7383-462A-9571-9E159724DE82}"/>
          </ac:spMkLst>
        </pc:spChg>
        <pc:spChg chg="del mod">
          <ac:chgData name="Robert Hokin" userId="716caab2-0991-4278-8ec6-0588b66ef10d" providerId="ADAL" clId="{3136ABB0-5E07-4FDA-BC98-31E67987D5C7}" dt="2020-08-13T17:03:32.434" v="543" actId="478"/>
          <ac:spMkLst>
            <pc:docMk/>
            <pc:sldMk cId="2790627176" sldId="353"/>
            <ac:spMk id="32" creationId="{C1764DC9-7CDC-4A12-8C07-DB2ADD3D50F3}"/>
          </ac:spMkLst>
        </pc:spChg>
        <pc:spChg chg="del">
          <ac:chgData name="Robert Hokin" userId="716caab2-0991-4278-8ec6-0588b66ef10d" providerId="ADAL" clId="{3136ABB0-5E07-4FDA-BC98-31E67987D5C7}" dt="2020-08-13T16:59:05.142" v="207" actId="478"/>
          <ac:spMkLst>
            <pc:docMk/>
            <pc:sldMk cId="2790627176" sldId="353"/>
            <ac:spMk id="62" creationId="{63E24C8A-9767-487C-9B26-F96584E1A8B8}"/>
          </ac:spMkLst>
        </pc:spChg>
        <pc:picChg chg="add mod">
          <ac:chgData name="Robert Hokin" userId="716caab2-0991-4278-8ec6-0588b66ef10d" providerId="ADAL" clId="{3136ABB0-5E07-4FDA-BC98-31E67987D5C7}" dt="2020-08-19T12:10:45.705" v="2565" actId="1035"/>
          <ac:picMkLst>
            <pc:docMk/>
            <pc:sldMk cId="2790627176" sldId="353"/>
            <ac:picMk id="2" creationId="{4378D3FE-FB84-4672-821B-0661938256B1}"/>
          </ac:picMkLst>
        </pc:picChg>
        <pc:picChg chg="add del">
          <ac:chgData name="Robert Hokin" userId="716caab2-0991-4278-8ec6-0588b66ef10d" providerId="ADAL" clId="{3136ABB0-5E07-4FDA-BC98-31E67987D5C7}" dt="2020-08-13T17:04:04.696" v="550" actId="478"/>
          <ac:picMkLst>
            <pc:docMk/>
            <pc:sldMk cId="2790627176" sldId="353"/>
            <ac:picMk id="3" creationId="{F138016F-3E4C-4AAD-B6D4-D26F3F9A8F3B}"/>
          </ac:picMkLst>
        </pc:picChg>
        <pc:picChg chg="del mod">
          <ac:chgData name="Robert Hokin" userId="716caab2-0991-4278-8ec6-0588b66ef10d" providerId="ADAL" clId="{3136ABB0-5E07-4FDA-BC98-31E67987D5C7}" dt="2020-08-13T16:59:54.834" v="453" actId="478"/>
          <ac:picMkLst>
            <pc:docMk/>
            <pc:sldMk cId="2790627176" sldId="353"/>
            <ac:picMk id="16" creationId="{E103DC79-8622-49AB-861F-08C0BA02E9E0}"/>
          </ac:picMkLst>
        </pc:picChg>
        <pc:picChg chg="del mod">
          <ac:chgData name="Robert Hokin" userId="716caab2-0991-4278-8ec6-0588b66ef10d" providerId="ADAL" clId="{3136ABB0-5E07-4FDA-BC98-31E67987D5C7}" dt="2020-08-13T16:59:54.834" v="453" actId="478"/>
          <ac:picMkLst>
            <pc:docMk/>
            <pc:sldMk cId="2790627176" sldId="353"/>
            <ac:picMk id="17" creationId="{1604FA2C-B1F3-4066-B74B-0A5288E73C5E}"/>
          </ac:picMkLst>
        </pc:picChg>
        <pc:picChg chg="del mod">
          <ac:chgData name="Robert Hokin" userId="716caab2-0991-4278-8ec6-0588b66ef10d" providerId="ADAL" clId="{3136ABB0-5E07-4FDA-BC98-31E67987D5C7}" dt="2020-08-13T16:59:54.834" v="453" actId="478"/>
          <ac:picMkLst>
            <pc:docMk/>
            <pc:sldMk cId="2790627176" sldId="353"/>
            <ac:picMk id="18" creationId="{81CDBA92-C9F5-45E2-B7EB-718B926ADF6A}"/>
          </ac:picMkLst>
        </pc:picChg>
        <pc:picChg chg="del mod">
          <ac:chgData name="Robert Hokin" userId="716caab2-0991-4278-8ec6-0588b66ef10d" providerId="ADAL" clId="{3136ABB0-5E07-4FDA-BC98-31E67987D5C7}" dt="2020-08-13T16:59:54.834" v="453" actId="478"/>
          <ac:picMkLst>
            <pc:docMk/>
            <pc:sldMk cId="2790627176" sldId="353"/>
            <ac:picMk id="19" creationId="{8ED2D38D-2AE0-4953-8BA9-0EBF36788FBF}"/>
          </ac:picMkLst>
        </pc:picChg>
        <pc:picChg chg="del mod">
          <ac:chgData name="Robert Hokin" userId="716caab2-0991-4278-8ec6-0588b66ef10d" providerId="ADAL" clId="{3136ABB0-5E07-4FDA-BC98-31E67987D5C7}" dt="2020-08-13T16:59:54.834" v="453" actId="478"/>
          <ac:picMkLst>
            <pc:docMk/>
            <pc:sldMk cId="2790627176" sldId="353"/>
            <ac:picMk id="20" creationId="{F47DE26C-88E0-4745-AFBB-3DFE7FC9E074}"/>
          </ac:picMkLst>
        </pc:picChg>
        <pc:picChg chg="add mod">
          <ac:chgData name="Robert Hokin" userId="716caab2-0991-4278-8ec6-0588b66ef10d" providerId="ADAL" clId="{3136ABB0-5E07-4FDA-BC98-31E67987D5C7}" dt="2020-08-13T17:11:14.088" v="1142"/>
          <ac:picMkLst>
            <pc:docMk/>
            <pc:sldMk cId="2790627176" sldId="353"/>
            <ac:picMk id="25" creationId="{FC2C3F48-F88D-41FD-ADD5-4BDBCC34DDDB}"/>
          </ac:picMkLst>
        </pc:picChg>
        <pc:picChg chg="del">
          <ac:chgData name="Robert Hokin" userId="716caab2-0991-4278-8ec6-0588b66ef10d" providerId="ADAL" clId="{3136ABB0-5E07-4FDA-BC98-31E67987D5C7}" dt="2020-08-13T16:58:58.307" v="205" actId="478"/>
          <ac:picMkLst>
            <pc:docMk/>
            <pc:sldMk cId="2790627176" sldId="353"/>
            <ac:picMk id="55" creationId="{F5DDCB36-A6F1-479D-AF03-28D25B4C97DC}"/>
          </ac:picMkLst>
        </pc:picChg>
        <pc:picChg chg="del mod">
          <ac:chgData name="Robert Hokin" userId="716caab2-0991-4278-8ec6-0588b66ef10d" providerId="ADAL" clId="{3136ABB0-5E07-4FDA-BC98-31E67987D5C7}" dt="2020-08-13T17:11:13.442" v="1141" actId="478"/>
          <ac:picMkLst>
            <pc:docMk/>
            <pc:sldMk cId="2790627176" sldId="353"/>
            <ac:picMk id="66" creationId="{AA7EE63E-D4CD-422B-AC66-093329BFEA4D}"/>
          </ac:picMkLst>
        </pc:picChg>
      </pc:sldChg>
      <pc:sldChg chg="del">
        <pc:chgData name="Robert Hokin" userId="716caab2-0991-4278-8ec6-0588b66ef10d" providerId="ADAL" clId="{3136ABB0-5E07-4FDA-BC98-31E67987D5C7}" dt="2020-08-13T16:54:13.742" v="5" actId="47"/>
        <pc:sldMkLst>
          <pc:docMk/>
          <pc:sldMk cId="4146876172" sldId="354"/>
        </pc:sldMkLst>
      </pc:sldChg>
      <pc:sldChg chg="del">
        <pc:chgData name="Robert Hokin" userId="716caab2-0991-4278-8ec6-0588b66ef10d" providerId="ADAL" clId="{3136ABB0-5E07-4FDA-BC98-31E67987D5C7}" dt="2020-08-13T16:55:13.216" v="64" actId="47"/>
        <pc:sldMkLst>
          <pc:docMk/>
          <pc:sldMk cId="801467032" sldId="357"/>
        </pc:sldMkLst>
      </pc:sldChg>
      <pc:sldChg chg="del">
        <pc:chgData name="Robert Hokin" userId="716caab2-0991-4278-8ec6-0588b66ef10d" providerId="ADAL" clId="{3136ABB0-5E07-4FDA-BC98-31E67987D5C7}" dt="2020-08-13T16:55:13.394" v="65" actId="47"/>
        <pc:sldMkLst>
          <pc:docMk/>
          <pc:sldMk cId="2174410093" sldId="358"/>
        </pc:sldMkLst>
      </pc:sldChg>
      <pc:sldChg chg="del">
        <pc:chgData name="Robert Hokin" userId="716caab2-0991-4278-8ec6-0588b66ef10d" providerId="ADAL" clId="{3136ABB0-5E07-4FDA-BC98-31E67987D5C7}" dt="2020-08-13T16:55:14.168" v="67" actId="47"/>
        <pc:sldMkLst>
          <pc:docMk/>
          <pc:sldMk cId="404159393" sldId="360"/>
        </pc:sldMkLst>
      </pc:sldChg>
      <pc:sldChg chg="del">
        <pc:chgData name="Robert Hokin" userId="716caab2-0991-4278-8ec6-0588b66ef10d" providerId="ADAL" clId="{3136ABB0-5E07-4FDA-BC98-31E67987D5C7}" dt="2020-08-13T16:55:14.918" v="71" actId="47"/>
        <pc:sldMkLst>
          <pc:docMk/>
          <pc:sldMk cId="3629023180" sldId="361"/>
        </pc:sldMkLst>
      </pc:sldChg>
      <pc:sldChg chg="del">
        <pc:chgData name="Robert Hokin" userId="716caab2-0991-4278-8ec6-0588b66ef10d" providerId="ADAL" clId="{3136ABB0-5E07-4FDA-BC98-31E67987D5C7}" dt="2020-08-13T16:55:15.142" v="72" actId="47"/>
        <pc:sldMkLst>
          <pc:docMk/>
          <pc:sldMk cId="2744580037" sldId="362"/>
        </pc:sldMkLst>
      </pc:sldChg>
      <pc:sldChg chg="del">
        <pc:chgData name="Robert Hokin" userId="716caab2-0991-4278-8ec6-0588b66ef10d" providerId="ADAL" clId="{3136ABB0-5E07-4FDA-BC98-31E67987D5C7}" dt="2020-08-13T16:55:15.512" v="74" actId="47"/>
        <pc:sldMkLst>
          <pc:docMk/>
          <pc:sldMk cId="2225302312" sldId="363"/>
        </pc:sldMkLst>
      </pc:sldChg>
      <pc:sldChg chg="del">
        <pc:chgData name="Robert Hokin" userId="716caab2-0991-4278-8ec6-0588b66ef10d" providerId="ADAL" clId="{3136ABB0-5E07-4FDA-BC98-31E67987D5C7}" dt="2020-08-13T16:55:14.747" v="70" actId="47"/>
        <pc:sldMkLst>
          <pc:docMk/>
          <pc:sldMk cId="3652625963" sldId="366"/>
        </pc:sldMkLst>
      </pc:sldChg>
      <pc:sldChg chg="del">
        <pc:chgData name="Robert Hokin" userId="716caab2-0991-4278-8ec6-0588b66ef10d" providerId="ADAL" clId="{3136ABB0-5E07-4FDA-BC98-31E67987D5C7}" dt="2020-08-13T16:55:15.336" v="73" actId="47"/>
        <pc:sldMkLst>
          <pc:docMk/>
          <pc:sldMk cId="2994608747" sldId="367"/>
        </pc:sldMkLst>
      </pc:sldChg>
      <pc:sldChg chg="del">
        <pc:chgData name="Robert Hokin" userId="716caab2-0991-4278-8ec6-0588b66ef10d" providerId="ADAL" clId="{3136ABB0-5E07-4FDA-BC98-31E67987D5C7}" dt="2020-08-13T16:57:22.513" v="190" actId="47"/>
        <pc:sldMkLst>
          <pc:docMk/>
          <pc:sldMk cId="1051776050" sldId="402"/>
        </pc:sldMkLst>
      </pc:sldChg>
      <pc:sldChg chg="del">
        <pc:chgData name="Robert Hokin" userId="716caab2-0991-4278-8ec6-0588b66ef10d" providerId="ADAL" clId="{3136ABB0-5E07-4FDA-BC98-31E67987D5C7}" dt="2020-08-13T16:56:53.002" v="142" actId="47"/>
        <pc:sldMkLst>
          <pc:docMk/>
          <pc:sldMk cId="3167977916" sldId="410"/>
        </pc:sldMkLst>
      </pc:sldChg>
      <pc:sldChg chg="del">
        <pc:chgData name="Robert Hokin" userId="716caab2-0991-4278-8ec6-0588b66ef10d" providerId="ADAL" clId="{3136ABB0-5E07-4FDA-BC98-31E67987D5C7}" dt="2020-08-13T16:56:53.802" v="145" actId="47"/>
        <pc:sldMkLst>
          <pc:docMk/>
          <pc:sldMk cId="3191555779" sldId="411"/>
        </pc:sldMkLst>
      </pc:sldChg>
      <pc:sldChg chg="del">
        <pc:chgData name="Robert Hokin" userId="716caab2-0991-4278-8ec6-0588b66ef10d" providerId="ADAL" clId="{3136ABB0-5E07-4FDA-BC98-31E67987D5C7}" dt="2020-08-13T16:56:57.295" v="153" actId="47"/>
        <pc:sldMkLst>
          <pc:docMk/>
          <pc:sldMk cId="1946726235" sldId="440"/>
        </pc:sldMkLst>
      </pc:sldChg>
      <pc:sldChg chg="del">
        <pc:chgData name="Robert Hokin" userId="716caab2-0991-4278-8ec6-0588b66ef10d" providerId="ADAL" clId="{3136ABB0-5E07-4FDA-BC98-31E67987D5C7}" dt="2020-08-13T16:56:58.533" v="154" actId="47"/>
        <pc:sldMkLst>
          <pc:docMk/>
          <pc:sldMk cId="1917571054" sldId="445"/>
        </pc:sldMkLst>
      </pc:sldChg>
      <pc:sldChg chg="del">
        <pc:chgData name="Robert Hokin" userId="716caab2-0991-4278-8ec6-0588b66ef10d" providerId="ADAL" clId="{3136ABB0-5E07-4FDA-BC98-31E67987D5C7}" dt="2020-08-13T16:56:53.855" v="146" actId="47"/>
        <pc:sldMkLst>
          <pc:docMk/>
          <pc:sldMk cId="1112144651" sldId="472"/>
        </pc:sldMkLst>
      </pc:sldChg>
      <pc:sldChg chg="del">
        <pc:chgData name="Robert Hokin" userId="716caab2-0991-4278-8ec6-0588b66ef10d" providerId="ADAL" clId="{3136ABB0-5E07-4FDA-BC98-31E67987D5C7}" dt="2020-08-13T16:56:52.881" v="141" actId="47"/>
        <pc:sldMkLst>
          <pc:docMk/>
          <pc:sldMk cId="280371229" sldId="507"/>
        </pc:sldMkLst>
      </pc:sldChg>
      <pc:sldChg chg="del">
        <pc:chgData name="Robert Hokin" userId="716caab2-0991-4278-8ec6-0588b66ef10d" providerId="ADAL" clId="{3136ABB0-5E07-4FDA-BC98-31E67987D5C7}" dt="2020-08-13T16:56:53.397" v="144" actId="47"/>
        <pc:sldMkLst>
          <pc:docMk/>
          <pc:sldMk cId="470391361" sldId="515"/>
        </pc:sldMkLst>
      </pc:sldChg>
      <pc:sldChg chg="del">
        <pc:chgData name="Robert Hokin" userId="716caab2-0991-4278-8ec6-0588b66ef10d" providerId="ADAL" clId="{3136ABB0-5E07-4FDA-BC98-31E67987D5C7}" dt="2020-08-13T16:56:55.543" v="150" actId="47"/>
        <pc:sldMkLst>
          <pc:docMk/>
          <pc:sldMk cId="2963502923" sldId="600"/>
        </pc:sldMkLst>
      </pc:sldChg>
      <pc:sldChg chg="del">
        <pc:chgData name="Robert Hokin" userId="716caab2-0991-4278-8ec6-0588b66ef10d" providerId="ADAL" clId="{3136ABB0-5E07-4FDA-BC98-31E67987D5C7}" dt="2020-08-13T16:56:53.188" v="143" actId="47"/>
        <pc:sldMkLst>
          <pc:docMk/>
          <pc:sldMk cId="2258132827" sldId="602"/>
        </pc:sldMkLst>
      </pc:sldChg>
      <pc:sldChg chg="del">
        <pc:chgData name="Robert Hokin" userId="716caab2-0991-4278-8ec6-0588b66ef10d" providerId="ADAL" clId="{3136ABB0-5E07-4FDA-BC98-31E67987D5C7}" dt="2020-08-13T16:57:11.126" v="174" actId="47"/>
        <pc:sldMkLst>
          <pc:docMk/>
          <pc:sldMk cId="1549472035" sldId="606"/>
        </pc:sldMkLst>
      </pc:sldChg>
      <pc:sldChg chg="del">
        <pc:chgData name="Robert Hokin" userId="716caab2-0991-4278-8ec6-0588b66ef10d" providerId="ADAL" clId="{3136ABB0-5E07-4FDA-BC98-31E67987D5C7}" dt="2020-08-13T16:57:01.080" v="158" actId="47"/>
        <pc:sldMkLst>
          <pc:docMk/>
          <pc:sldMk cId="1686641181" sldId="608"/>
        </pc:sldMkLst>
      </pc:sldChg>
      <pc:sldChg chg="del">
        <pc:chgData name="Robert Hokin" userId="716caab2-0991-4278-8ec6-0588b66ef10d" providerId="ADAL" clId="{3136ABB0-5E07-4FDA-BC98-31E67987D5C7}" dt="2020-08-13T16:57:05.427" v="160" actId="47"/>
        <pc:sldMkLst>
          <pc:docMk/>
          <pc:sldMk cId="429028940" sldId="609"/>
        </pc:sldMkLst>
      </pc:sldChg>
      <pc:sldChg chg="del">
        <pc:chgData name="Robert Hokin" userId="716caab2-0991-4278-8ec6-0588b66ef10d" providerId="ADAL" clId="{3136ABB0-5E07-4FDA-BC98-31E67987D5C7}" dt="2020-08-13T16:57:06.834" v="167" actId="47"/>
        <pc:sldMkLst>
          <pc:docMk/>
          <pc:sldMk cId="693664923" sldId="610"/>
        </pc:sldMkLst>
      </pc:sldChg>
      <pc:sldChg chg="del">
        <pc:chgData name="Robert Hokin" userId="716caab2-0991-4278-8ec6-0588b66ef10d" providerId="ADAL" clId="{3136ABB0-5E07-4FDA-BC98-31E67987D5C7}" dt="2020-08-13T16:56:54.063" v="147" actId="47"/>
        <pc:sldMkLst>
          <pc:docMk/>
          <pc:sldMk cId="436920556" sldId="611"/>
        </pc:sldMkLst>
      </pc:sldChg>
      <pc:sldChg chg="del">
        <pc:chgData name="Robert Hokin" userId="716caab2-0991-4278-8ec6-0588b66ef10d" providerId="ADAL" clId="{3136ABB0-5E07-4FDA-BC98-31E67987D5C7}" dt="2020-08-13T16:56:56.694" v="152" actId="47"/>
        <pc:sldMkLst>
          <pc:docMk/>
          <pc:sldMk cId="1924659482" sldId="613"/>
        </pc:sldMkLst>
      </pc:sldChg>
      <pc:sldChg chg="del">
        <pc:chgData name="Robert Hokin" userId="716caab2-0991-4278-8ec6-0588b66ef10d" providerId="ADAL" clId="{3136ABB0-5E07-4FDA-BC98-31E67987D5C7}" dt="2020-08-13T16:57:10.330" v="172" actId="47"/>
        <pc:sldMkLst>
          <pc:docMk/>
          <pc:sldMk cId="3951975571" sldId="616"/>
        </pc:sldMkLst>
      </pc:sldChg>
      <pc:sldChg chg="del">
        <pc:chgData name="Robert Hokin" userId="716caab2-0991-4278-8ec6-0588b66ef10d" providerId="ADAL" clId="{3136ABB0-5E07-4FDA-BC98-31E67987D5C7}" dt="2020-08-13T16:57:11.158" v="175" actId="47"/>
        <pc:sldMkLst>
          <pc:docMk/>
          <pc:sldMk cId="4152846388" sldId="617"/>
        </pc:sldMkLst>
      </pc:sldChg>
      <pc:sldChg chg="del">
        <pc:chgData name="Robert Hokin" userId="716caab2-0991-4278-8ec6-0588b66ef10d" providerId="ADAL" clId="{3136ABB0-5E07-4FDA-BC98-31E67987D5C7}" dt="2020-08-13T16:56:59.374" v="155" actId="47"/>
        <pc:sldMkLst>
          <pc:docMk/>
          <pc:sldMk cId="1860096525" sldId="618"/>
        </pc:sldMkLst>
      </pc:sldChg>
      <pc:sldChg chg="del">
        <pc:chgData name="Robert Hokin" userId="716caab2-0991-4278-8ec6-0588b66ef10d" providerId="ADAL" clId="{3136ABB0-5E07-4FDA-BC98-31E67987D5C7}" dt="2020-08-13T16:53:01.986" v="1" actId="47"/>
        <pc:sldMkLst>
          <pc:docMk/>
          <pc:sldMk cId="1978175123" sldId="3249"/>
        </pc:sldMkLst>
      </pc:sldChg>
      <pc:sldChg chg="addSp delSp modSp mod ord">
        <pc:chgData name="Robert Hokin" userId="716caab2-0991-4278-8ec6-0588b66ef10d" providerId="ADAL" clId="{3136ABB0-5E07-4FDA-BC98-31E67987D5C7}" dt="2020-08-19T16:12:13.776" v="6660" actId="1076"/>
        <pc:sldMkLst>
          <pc:docMk/>
          <pc:sldMk cId="148657346" sldId="3250"/>
        </pc:sldMkLst>
        <pc:spChg chg="add del mod">
          <ac:chgData name="Robert Hokin" userId="716caab2-0991-4278-8ec6-0588b66ef10d" providerId="ADAL" clId="{3136ABB0-5E07-4FDA-BC98-31E67987D5C7}" dt="2020-08-19T16:11:23.351" v="6371" actId="478"/>
          <ac:spMkLst>
            <pc:docMk/>
            <pc:sldMk cId="148657346" sldId="3250"/>
            <ac:spMk id="5" creationId="{5AA8CDBC-22EC-41AA-98C3-2B4EE31A7847}"/>
          </ac:spMkLst>
        </pc:spChg>
        <pc:spChg chg="del">
          <ac:chgData name="Robert Hokin" userId="716caab2-0991-4278-8ec6-0588b66ef10d" providerId="ADAL" clId="{3136ABB0-5E07-4FDA-BC98-31E67987D5C7}" dt="2020-08-13T17:11:53.092" v="1252" actId="478"/>
          <ac:spMkLst>
            <pc:docMk/>
            <pc:sldMk cId="148657346" sldId="3250"/>
            <ac:spMk id="24" creationId="{8AE1EA8F-F84C-4F98-9EE2-4972F7D24A1B}"/>
          </ac:spMkLst>
        </pc:spChg>
        <pc:spChg chg="mod">
          <ac:chgData name="Robert Hokin" userId="716caab2-0991-4278-8ec6-0588b66ef10d" providerId="ADAL" clId="{3136ABB0-5E07-4FDA-BC98-31E67987D5C7}" dt="2020-08-14T08:01:19.068" v="2039" actId="20577"/>
          <ac:spMkLst>
            <pc:docMk/>
            <pc:sldMk cId="148657346" sldId="3250"/>
            <ac:spMk id="28" creationId="{5F2691B0-1B15-43CA-A42B-BB39E4CB779D}"/>
          </ac:spMkLst>
        </pc:spChg>
        <pc:spChg chg="mod">
          <ac:chgData name="Robert Hokin" userId="716caab2-0991-4278-8ec6-0588b66ef10d" providerId="ADAL" clId="{3136ABB0-5E07-4FDA-BC98-31E67987D5C7}" dt="2020-08-14T08:07:22.546" v="2107" actId="20577"/>
          <ac:spMkLst>
            <pc:docMk/>
            <pc:sldMk cId="148657346" sldId="3250"/>
            <ac:spMk id="29" creationId="{C957ADFB-F094-4437-AFB0-27483741B272}"/>
          </ac:spMkLst>
        </pc:spChg>
        <pc:spChg chg="mod">
          <ac:chgData name="Robert Hokin" userId="716caab2-0991-4278-8ec6-0588b66ef10d" providerId="ADAL" clId="{3136ABB0-5E07-4FDA-BC98-31E67987D5C7}" dt="2020-08-19T12:14:11.842" v="2879" actId="20577"/>
          <ac:spMkLst>
            <pc:docMk/>
            <pc:sldMk cId="148657346" sldId="3250"/>
            <ac:spMk id="31" creationId="{68D71F6E-394F-4B62-B54A-BF1F0EAF2F42}"/>
          </ac:spMkLst>
        </pc:spChg>
        <pc:spChg chg="mod">
          <ac:chgData name="Robert Hokin" userId="716caab2-0991-4278-8ec6-0588b66ef10d" providerId="ADAL" clId="{3136ABB0-5E07-4FDA-BC98-31E67987D5C7}" dt="2020-08-14T08:07:31.022" v="2129" actId="20577"/>
          <ac:spMkLst>
            <pc:docMk/>
            <pc:sldMk cId="148657346" sldId="3250"/>
            <ac:spMk id="32" creationId="{E6D99F6D-95BD-46D2-95F6-E2DAA43D90E9}"/>
          </ac:spMkLst>
        </pc:spChg>
        <pc:spChg chg="mod">
          <ac:chgData name="Robert Hokin" userId="716caab2-0991-4278-8ec6-0588b66ef10d" providerId="ADAL" clId="{3136ABB0-5E07-4FDA-BC98-31E67987D5C7}" dt="2020-08-14T07:59:42.362" v="1815" actId="1038"/>
          <ac:spMkLst>
            <pc:docMk/>
            <pc:sldMk cId="148657346" sldId="3250"/>
            <ac:spMk id="33" creationId="{A2FE61D5-F22B-40FB-863E-A0AAE7A44B07}"/>
          </ac:spMkLst>
        </pc:spChg>
        <pc:spChg chg="mod">
          <ac:chgData name="Robert Hokin" userId="716caab2-0991-4278-8ec6-0588b66ef10d" providerId="ADAL" clId="{3136ABB0-5E07-4FDA-BC98-31E67987D5C7}" dt="2020-08-13T17:15:50.132" v="1429" actId="20577"/>
          <ac:spMkLst>
            <pc:docMk/>
            <pc:sldMk cId="148657346" sldId="3250"/>
            <ac:spMk id="38" creationId="{C5A4D7F4-610F-48B8-93FE-DE1C3EA3A324}"/>
          </ac:spMkLst>
        </pc:spChg>
        <pc:spChg chg="del">
          <ac:chgData name="Robert Hokin" userId="716caab2-0991-4278-8ec6-0588b66ef10d" providerId="ADAL" clId="{3136ABB0-5E07-4FDA-BC98-31E67987D5C7}" dt="2020-08-13T17:11:20.888" v="1143" actId="478"/>
          <ac:spMkLst>
            <pc:docMk/>
            <pc:sldMk cId="148657346" sldId="3250"/>
            <ac:spMk id="61" creationId="{BF47D637-F6B8-472E-9632-77DEF207218B}"/>
          </ac:spMkLst>
        </pc:spChg>
        <pc:grpChg chg="mod">
          <ac:chgData name="Robert Hokin" userId="716caab2-0991-4278-8ec6-0588b66ef10d" providerId="ADAL" clId="{3136ABB0-5E07-4FDA-BC98-31E67987D5C7}" dt="2020-08-14T08:00:41.143" v="2004" actId="1035"/>
          <ac:grpSpMkLst>
            <pc:docMk/>
            <pc:sldMk cId="148657346" sldId="3250"/>
            <ac:grpSpMk id="21" creationId="{22C91749-D0AA-4CDB-A4B1-C90F1213DE5C}"/>
          </ac:grpSpMkLst>
        </pc:grpChg>
        <pc:grpChg chg="add mod">
          <ac:chgData name="Robert Hokin" userId="716caab2-0991-4278-8ec6-0588b66ef10d" providerId="ADAL" clId="{3136ABB0-5E07-4FDA-BC98-31E67987D5C7}" dt="2020-08-14T08:00:25.289" v="1917" actId="1036"/>
          <ac:grpSpMkLst>
            <pc:docMk/>
            <pc:sldMk cId="148657346" sldId="3250"/>
            <ac:grpSpMk id="24" creationId="{C87A43B1-226C-4C7B-8F73-FAA76A2DB337}"/>
          </ac:grpSpMkLst>
        </pc:grpChg>
        <pc:grpChg chg="mod">
          <ac:chgData name="Robert Hokin" userId="716caab2-0991-4278-8ec6-0588b66ef10d" providerId="ADAL" clId="{3136ABB0-5E07-4FDA-BC98-31E67987D5C7}" dt="2020-08-14T08:00:05.182" v="1859" actId="1035"/>
          <ac:grpSpMkLst>
            <pc:docMk/>
            <pc:sldMk cId="148657346" sldId="3250"/>
            <ac:grpSpMk id="25" creationId="{05C0C757-AB57-4857-89E8-1B7D88E3E589}"/>
          </ac:grpSpMkLst>
        </pc:grpChg>
        <pc:grpChg chg="add mod">
          <ac:chgData name="Robert Hokin" userId="716caab2-0991-4278-8ec6-0588b66ef10d" providerId="ADAL" clId="{3136ABB0-5E07-4FDA-BC98-31E67987D5C7}" dt="2020-08-19T16:12:09.084" v="6659" actId="1035"/>
          <ac:grpSpMkLst>
            <pc:docMk/>
            <pc:sldMk cId="148657346" sldId="3250"/>
            <ac:grpSpMk id="30" creationId="{1C3415AD-9098-4770-8B20-34658B475271}"/>
          </ac:grpSpMkLst>
        </pc:grpChg>
        <pc:grpChg chg="mod">
          <ac:chgData name="Robert Hokin" userId="716caab2-0991-4278-8ec6-0588b66ef10d" providerId="ADAL" clId="{3136ABB0-5E07-4FDA-BC98-31E67987D5C7}" dt="2020-08-14T08:00:41.143" v="2004" actId="1035"/>
          <ac:grpSpMkLst>
            <pc:docMk/>
            <pc:sldMk cId="148657346" sldId="3250"/>
            <ac:grpSpMk id="34" creationId="{9C2A30F8-DE96-477D-8182-DC9F49123AA1}"/>
          </ac:grpSpMkLst>
        </pc:grpChg>
        <pc:grpChg chg="mod">
          <ac:chgData name="Robert Hokin" userId="716caab2-0991-4278-8ec6-0588b66ef10d" providerId="ADAL" clId="{3136ABB0-5E07-4FDA-BC98-31E67987D5C7}" dt="2020-08-19T16:10:10.652" v="6366" actId="1036"/>
          <ac:grpSpMkLst>
            <pc:docMk/>
            <pc:sldMk cId="148657346" sldId="3250"/>
            <ac:grpSpMk id="37" creationId="{A5B94650-BF8E-4382-B9FD-7149F8D6FD76}"/>
          </ac:grpSpMkLst>
        </pc:grpChg>
        <pc:picChg chg="add">
          <ac:chgData name="Robert Hokin" userId="716caab2-0991-4278-8ec6-0588b66ef10d" providerId="ADAL" clId="{3136ABB0-5E07-4FDA-BC98-31E67987D5C7}" dt="2020-08-19T12:19:31.889" v="3233" actId="22"/>
          <ac:picMkLst>
            <pc:docMk/>
            <pc:sldMk cId="148657346" sldId="3250"/>
            <ac:picMk id="2" creationId="{615E3D21-85E1-4A79-899E-13015BAD4018}"/>
          </ac:picMkLst>
        </pc:picChg>
        <pc:picChg chg="add del mod">
          <ac:chgData name="Robert Hokin" userId="716caab2-0991-4278-8ec6-0588b66ef10d" providerId="ADAL" clId="{3136ABB0-5E07-4FDA-BC98-31E67987D5C7}" dt="2020-08-13T17:12:33.117" v="1271" actId="478"/>
          <ac:picMkLst>
            <pc:docMk/>
            <pc:sldMk cId="148657346" sldId="3250"/>
            <ac:picMk id="2" creationId="{AB4192AA-D500-440F-98AA-7D70E60E05B7}"/>
          </ac:picMkLst>
        </pc:picChg>
        <pc:picChg chg="add">
          <ac:chgData name="Robert Hokin" userId="716caab2-0991-4278-8ec6-0588b66ef10d" providerId="ADAL" clId="{3136ABB0-5E07-4FDA-BC98-31E67987D5C7}" dt="2020-08-13T17:14:22.639" v="1282" actId="22"/>
          <ac:picMkLst>
            <pc:docMk/>
            <pc:sldMk cId="148657346" sldId="3250"/>
            <ac:picMk id="3" creationId="{B324ADE0-02EC-4CD3-997C-94EC8253F68A}"/>
          </ac:picMkLst>
        </pc:picChg>
        <pc:picChg chg="add del mod">
          <ac:chgData name="Robert Hokin" userId="716caab2-0991-4278-8ec6-0588b66ef10d" providerId="ADAL" clId="{3136ABB0-5E07-4FDA-BC98-31E67987D5C7}" dt="2020-08-13T17:11:28.938" v="1145" actId="478"/>
          <ac:picMkLst>
            <pc:docMk/>
            <pc:sldMk cId="148657346" sldId="3250"/>
            <ac:picMk id="28" creationId="{2D66C432-6D8D-4268-9E17-EADB5BA791EB}"/>
          </ac:picMkLst>
        </pc:picChg>
        <pc:picChg chg="add del mod">
          <ac:chgData name="Robert Hokin" userId="716caab2-0991-4278-8ec6-0588b66ef10d" providerId="ADAL" clId="{3136ABB0-5E07-4FDA-BC98-31E67987D5C7}" dt="2020-08-13T17:12:15.937" v="1256" actId="478"/>
          <ac:picMkLst>
            <pc:docMk/>
            <pc:sldMk cId="148657346" sldId="3250"/>
            <ac:picMk id="29" creationId="{F0694309-748B-4A93-BFE2-5765D4E5BA28}"/>
          </ac:picMkLst>
        </pc:picChg>
        <pc:picChg chg="add del mod">
          <ac:chgData name="Robert Hokin" userId="716caab2-0991-4278-8ec6-0588b66ef10d" providerId="ADAL" clId="{3136ABB0-5E07-4FDA-BC98-31E67987D5C7}" dt="2020-08-13T17:14:19.005" v="1281" actId="478"/>
          <ac:picMkLst>
            <pc:docMk/>
            <pc:sldMk cId="148657346" sldId="3250"/>
            <ac:picMk id="31" creationId="{D41E3526-F064-4FBA-8B18-778B2DD842E4}"/>
          </ac:picMkLst>
        </pc:picChg>
        <pc:picChg chg="add mod">
          <ac:chgData name="Robert Hokin" userId="716caab2-0991-4278-8ec6-0588b66ef10d" providerId="ADAL" clId="{3136ABB0-5E07-4FDA-BC98-31E67987D5C7}" dt="2020-08-14T08:03:00.911" v="2066" actId="14826"/>
          <ac:picMkLst>
            <pc:docMk/>
            <pc:sldMk cId="148657346" sldId="3250"/>
            <ac:picMk id="40" creationId="{E99720DB-97AF-4E55-9D7A-5B9906273A19}"/>
          </ac:picMkLst>
        </pc:picChg>
        <pc:picChg chg="add mod">
          <ac:chgData name="Robert Hokin" userId="716caab2-0991-4278-8ec6-0588b66ef10d" providerId="ADAL" clId="{3136ABB0-5E07-4FDA-BC98-31E67987D5C7}" dt="2020-08-19T16:12:13.776" v="6660" actId="1076"/>
          <ac:picMkLst>
            <pc:docMk/>
            <pc:sldMk cId="148657346" sldId="3250"/>
            <ac:picMk id="41" creationId="{A61807F1-B265-4759-B3FC-375C2C3F199C}"/>
          </ac:picMkLst>
        </pc:picChg>
        <pc:picChg chg="add mod">
          <ac:chgData name="Robert Hokin" userId="716caab2-0991-4278-8ec6-0588b66ef10d" providerId="ADAL" clId="{3136ABB0-5E07-4FDA-BC98-31E67987D5C7}" dt="2020-08-19T16:11:30.394" v="6372" actId="1076"/>
          <ac:picMkLst>
            <pc:docMk/>
            <pc:sldMk cId="148657346" sldId="3250"/>
            <ac:picMk id="43" creationId="{AC9ADE1B-0B3B-427D-800D-4F32373972B8}"/>
          </ac:picMkLst>
        </pc:picChg>
        <pc:picChg chg="mod">
          <ac:chgData name="Robert Hokin" userId="716caab2-0991-4278-8ec6-0588b66ef10d" providerId="ADAL" clId="{3136ABB0-5E07-4FDA-BC98-31E67987D5C7}" dt="2020-08-14T08:06:24.423" v="2086" actId="14100"/>
          <ac:picMkLst>
            <pc:docMk/>
            <pc:sldMk cId="148657346" sldId="3250"/>
            <ac:picMk id="45" creationId="{5D583386-A9B0-411F-8953-409A18D56D33}"/>
          </ac:picMkLst>
        </pc:picChg>
        <pc:picChg chg="mod">
          <ac:chgData name="Robert Hokin" userId="716caab2-0991-4278-8ec6-0588b66ef10d" providerId="ADAL" clId="{3136ABB0-5E07-4FDA-BC98-31E67987D5C7}" dt="2020-08-14T08:04:56.962" v="2083" actId="14826"/>
          <ac:picMkLst>
            <pc:docMk/>
            <pc:sldMk cId="148657346" sldId="3250"/>
            <ac:picMk id="46" creationId="{14FB53D3-8E8B-41CD-A8B5-7D1C0469BDB7}"/>
          </ac:picMkLst>
        </pc:picChg>
        <pc:picChg chg="del">
          <ac:chgData name="Robert Hokin" userId="716caab2-0991-4278-8ec6-0588b66ef10d" providerId="ADAL" clId="{3136ABB0-5E07-4FDA-BC98-31E67987D5C7}" dt="2020-08-19T12:19:31.164" v="3232" actId="478"/>
          <ac:picMkLst>
            <pc:docMk/>
            <pc:sldMk cId="148657346" sldId="3250"/>
            <ac:picMk id="48" creationId="{D50AC10C-23E1-4AD3-84B6-E9B45369C4C3}"/>
          </ac:picMkLst>
        </pc:picChg>
        <pc:picChg chg="del mod">
          <ac:chgData name="Robert Hokin" userId="716caab2-0991-4278-8ec6-0588b66ef10d" providerId="ADAL" clId="{3136ABB0-5E07-4FDA-BC98-31E67987D5C7}" dt="2020-08-19T16:11:03.353" v="6370" actId="478"/>
          <ac:picMkLst>
            <pc:docMk/>
            <pc:sldMk cId="148657346" sldId="3250"/>
            <ac:picMk id="51" creationId="{A956312F-51AD-4945-824C-CCF7C456AC73}"/>
          </ac:picMkLst>
        </pc:picChg>
        <pc:picChg chg="mod">
          <ac:chgData name="Robert Hokin" userId="716caab2-0991-4278-8ec6-0588b66ef10d" providerId="ADAL" clId="{3136ABB0-5E07-4FDA-BC98-31E67987D5C7}" dt="2020-08-14T08:06:54.492" v="2087" actId="14826"/>
          <ac:picMkLst>
            <pc:docMk/>
            <pc:sldMk cId="148657346" sldId="3250"/>
            <ac:picMk id="52" creationId="{FC7D4662-49B5-4E31-A24D-93D7166DC4D6}"/>
          </ac:picMkLst>
        </pc:picChg>
      </pc:sldChg>
      <pc:sldChg chg="del">
        <pc:chgData name="Robert Hokin" userId="716caab2-0991-4278-8ec6-0588b66ef10d" providerId="ADAL" clId="{3136ABB0-5E07-4FDA-BC98-31E67987D5C7}" dt="2020-08-13T16:53:17.468" v="2" actId="47"/>
        <pc:sldMkLst>
          <pc:docMk/>
          <pc:sldMk cId="3099050992" sldId="3253"/>
        </pc:sldMkLst>
      </pc:sldChg>
      <pc:sldChg chg="del">
        <pc:chgData name="Robert Hokin" userId="716caab2-0991-4278-8ec6-0588b66ef10d" providerId="ADAL" clId="{3136ABB0-5E07-4FDA-BC98-31E67987D5C7}" dt="2020-08-13T16:52:59.414" v="0" actId="47"/>
        <pc:sldMkLst>
          <pc:docMk/>
          <pc:sldMk cId="2976427861" sldId="3255"/>
        </pc:sldMkLst>
      </pc:sldChg>
      <pc:sldChg chg="addSp delSp modSp mod">
        <pc:chgData name="Robert Hokin" userId="716caab2-0991-4278-8ec6-0588b66ef10d" providerId="ADAL" clId="{3136ABB0-5E07-4FDA-BC98-31E67987D5C7}" dt="2020-08-19T15:56:55.622" v="5847" actId="20577"/>
        <pc:sldMkLst>
          <pc:docMk/>
          <pc:sldMk cId="1256793859" sldId="3256"/>
        </pc:sldMkLst>
        <pc:spChg chg="add del">
          <ac:chgData name="Robert Hokin" userId="716caab2-0991-4278-8ec6-0588b66ef10d" providerId="ADAL" clId="{3136ABB0-5E07-4FDA-BC98-31E67987D5C7}" dt="2020-08-13T17:06:22.484" v="743" actId="478"/>
          <ac:spMkLst>
            <pc:docMk/>
            <pc:sldMk cId="1256793859" sldId="3256"/>
            <ac:spMk id="2" creationId="{6CB7F23E-0DA8-4BE1-A973-3C203A5EE7E1}"/>
          </ac:spMkLst>
        </pc:spChg>
        <pc:spChg chg="add del mod">
          <ac:chgData name="Robert Hokin" userId="716caab2-0991-4278-8ec6-0588b66ef10d" providerId="ADAL" clId="{3136ABB0-5E07-4FDA-BC98-31E67987D5C7}" dt="2020-08-13T17:22:08.988" v="1475" actId="478"/>
          <ac:spMkLst>
            <pc:docMk/>
            <pc:sldMk cId="1256793859" sldId="3256"/>
            <ac:spMk id="4" creationId="{58CB5A79-BA48-4AB9-BECA-8EEC02AB2CA4}"/>
          </ac:spMkLst>
        </pc:spChg>
        <pc:spChg chg="del mod">
          <ac:chgData name="Robert Hokin" userId="716caab2-0991-4278-8ec6-0588b66ef10d" providerId="ADAL" clId="{3136ABB0-5E07-4FDA-BC98-31E67987D5C7}" dt="2020-08-13T17:04:11.576" v="551" actId="21"/>
          <ac:spMkLst>
            <pc:docMk/>
            <pc:sldMk cId="1256793859" sldId="3256"/>
            <ac:spMk id="8" creationId="{2E008938-1598-4CB4-B212-C22BA14BB952}"/>
          </ac:spMkLst>
        </pc:spChg>
        <pc:spChg chg="del mod">
          <ac:chgData name="Robert Hokin" userId="716caab2-0991-4278-8ec6-0588b66ef10d" providerId="ADAL" clId="{3136ABB0-5E07-4FDA-BC98-31E67987D5C7}" dt="2020-08-13T17:09:13.482" v="896" actId="478"/>
          <ac:spMkLst>
            <pc:docMk/>
            <pc:sldMk cId="1256793859" sldId="3256"/>
            <ac:spMk id="32" creationId="{C1764DC9-7CDC-4A12-8C07-DB2ADD3D50F3}"/>
          </ac:spMkLst>
        </pc:spChg>
        <pc:spChg chg="del mod">
          <ac:chgData name="Robert Hokin" userId="716caab2-0991-4278-8ec6-0588b66ef10d" providerId="ADAL" clId="{3136ABB0-5E07-4FDA-BC98-31E67987D5C7}" dt="2020-08-13T17:03:11.980" v="541" actId="478"/>
          <ac:spMkLst>
            <pc:docMk/>
            <pc:sldMk cId="1256793859" sldId="3256"/>
            <ac:spMk id="62" creationId="{63E24C8A-9767-487C-9B26-F96584E1A8B8}"/>
          </ac:spMkLst>
        </pc:spChg>
        <pc:spChg chg="mod">
          <ac:chgData name="Robert Hokin" userId="716caab2-0991-4278-8ec6-0588b66ef10d" providerId="ADAL" clId="{3136ABB0-5E07-4FDA-BC98-31E67987D5C7}" dt="2020-08-19T15:56:55.622" v="5847" actId="20577"/>
          <ac:spMkLst>
            <pc:docMk/>
            <pc:sldMk cId="1256793859" sldId="3256"/>
            <ac:spMk id="74" creationId="{6C021648-E167-439B-A284-D7C2D92DD666}"/>
          </ac:spMkLst>
        </pc:spChg>
        <pc:picChg chg="mod">
          <ac:chgData name="Robert Hokin" userId="716caab2-0991-4278-8ec6-0588b66ef10d" providerId="ADAL" clId="{3136ABB0-5E07-4FDA-BC98-31E67987D5C7}" dt="2020-08-19T12:19:17.531" v="3229" actId="1076"/>
          <ac:picMkLst>
            <pc:docMk/>
            <pc:sldMk cId="1256793859" sldId="3256"/>
            <ac:picMk id="10" creationId="{98132934-7CCE-44A4-A111-FA89FC36F804}"/>
          </ac:picMkLst>
        </pc:picChg>
        <pc:picChg chg="add mod">
          <ac:chgData name="Robert Hokin" userId="716caab2-0991-4278-8ec6-0588b66ef10d" providerId="ADAL" clId="{3136ABB0-5E07-4FDA-BC98-31E67987D5C7}" dt="2020-08-13T17:14:09.504" v="1279" actId="1440"/>
          <ac:picMkLst>
            <pc:docMk/>
            <pc:sldMk cId="1256793859" sldId="3256"/>
            <ac:picMk id="12" creationId="{C0A36110-08B9-4545-9D98-70C15555241A}"/>
          </ac:picMkLst>
        </pc:picChg>
        <pc:picChg chg="del mod">
          <ac:chgData name="Robert Hokin" userId="716caab2-0991-4278-8ec6-0588b66ef10d" providerId="ADAL" clId="{3136ABB0-5E07-4FDA-BC98-31E67987D5C7}" dt="2020-08-13T17:11:08.552" v="1138" actId="478"/>
          <ac:picMkLst>
            <pc:docMk/>
            <pc:sldMk cId="1256793859" sldId="3256"/>
            <ac:picMk id="66" creationId="{AA7EE63E-D4CD-422B-AC66-093329BFEA4D}"/>
          </ac:picMkLst>
        </pc:picChg>
      </pc:sldChg>
      <pc:sldChg chg="addSp delSp modSp mod">
        <pc:chgData name="Robert Hokin" userId="716caab2-0991-4278-8ec6-0588b66ef10d" providerId="ADAL" clId="{3136ABB0-5E07-4FDA-BC98-31E67987D5C7}" dt="2020-08-19T15:57:17.419" v="5865" actId="20577"/>
        <pc:sldMkLst>
          <pc:docMk/>
          <pc:sldMk cId="3536096567" sldId="3257"/>
        </pc:sldMkLst>
        <pc:spChg chg="mod">
          <ac:chgData name="Robert Hokin" userId="716caab2-0991-4278-8ec6-0588b66ef10d" providerId="ADAL" clId="{3136ABB0-5E07-4FDA-BC98-31E67987D5C7}" dt="2020-08-19T15:57:17.419" v="5865" actId="20577"/>
          <ac:spMkLst>
            <pc:docMk/>
            <pc:sldMk cId="3536096567" sldId="3257"/>
            <ac:spMk id="2" creationId="{0BC7CC36-2879-46B1-9E35-2B6272908A30}"/>
          </ac:spMkLst>
        </pc:spChg>
        <pc:spChg chg="del">
          <ac:chgData name="Robert Hokin" userId="716caab2-0991-4278-8ec6-0588b66ef10d" providerId="ADAL" clId="{3136ABB0-5E07-4FDA-BC98-31E67987D5C7}" dt="2020-08-13T17:06:32.907" v="744" actId="478"/>
          <ac:spMkLst>
            <pc:docMk/>
            <pc:sldMk cId="3536096567" sldId="3257"/>
            <ac:spMk id="9" creationId="{E44666AF-1435-4D4A-A7C0-8357F430A819}"/>
          </ac:spMkLst>
        </pc:spChg>
        <pc:spChg chg="del mod">
          <ac:chgData name="Robert Hokin" userId="716caab2-0991-4278-8ec6-0588b66ef10d" providerId="ADAL" clId="{3136ABB0-5E07-4FDA-BC98-31E67987D5C7}" dt="2020-08-13T17:22:33.260" v="1529" actId="478"/>
          <ac:spMkLst>
            <pc:docMk/>
            <pc:sldMk cId="3536096567" sldId="3257"/>
            <ac:spMk id="32" creationId="{C1764DC9-7CDC-4A12-8C07-DB2ADD3D50F3}"/>
          </ac:spMkLst>
        </pc:spChg>
        <pc:spChg chg="mod">
          <ac:chgData name="Robert Hokin" userId="716caab2-0991-4278-8ec6-0588b66ef10d" providerId="ADAL" clId="{3136ABB0-5E07-4FDA-BC98-31E67987D5C7}" dt="2020-08-13T17:24:05.564" v="1551" actId="1038"/>
          <ac:spMkLst>
            <pc:docMk/>
            <pc:sldMk cId="3536096567" sldId="3257"/>
            <ac:spMk id="62" creationId="{63E24C8A-9767-487C-9B26-F96584E1A8B8}"/>
          </ac:spMkLst>
        </pc:spChg>
        <pc:picChg chg="add">
          <ac:chgData name="Robert Hokin" userId="716caab2-0991-4278-8ec6-0588b66ef10d" providerId="ADAL" clId="{3136ABB0-5E07-4FDA-BC98-31E67987D5C7}" dt="2020-08-19T12:19:27.613" v="3231" actId="22"/>
          <ac:picMkLst>
            <pc:docMk/>
            <pc:sldMk cId="3536096567" sldId="3257"/>
            <ac:picMk id="3" creationId="{504E15D7-061C-4AF7-88A1-EC4097CFE030}"/>
          </ac:picMkLst>
        </pc:picChg>
        <pc:picChg chg="add del mod">
          <ac:chgData name="Robert Hokin" userId="716caab2-0991-4278-8ec6-0588b66ef10d" providerId="ADAL" clId="{3136ABB0-5E07-4FDA-BC98-31E67987D5C7}" dt="2020-08-13T17:11:58.667" v="1254"/>
          <ac:picMkLst>
            <pc:docMk/>
            <pc:sldMk cId="3536096567" sldId="3257"/>
            <ac:picMk id="10" creationId="{81A086AE-F174-4AB6-AC39-9443F6D9F26A}"/>
          </ac:picMkLst>
        </pc:picChg>
        <pc:picChg chg="del">
          <ac:chgData name="Robert Hokin" userId="716caab2-0991-4278-8ec6-0588b66ef10d" providerId="ADAL" clId="{3136ABB0-5E07-4FDA-BC98-31E67987D5C7}" dt="2020-08-19T12:19:27.038" v="3230" actId="478"/>
          <ac:picMkLst>
            <pc:docMk/>
            <pc:sldMk cId="3536096567" sldId="3257"/>
            <ac:picMk id="11" creationId="{092BF1B8-AD7E-437F-BE64-41B43702CB37}"/>
          </ac:picMkLst>
        </pc:picChg>
        <pc:picChg chg="add del mod">
          <ac:chgData name="Robert Hokin" userId="716caab2-0991-4278-8ec6-0588b66ef10d" providerId="ADAL" clId="{3136ABB0-5E07-4FDA-BC98-31E67987D5C7}" dt="2020-08-13T17:12:23.631" v="1258" actId="21"/>
          <ac:picMkLst>
            <pc:docMk/>
            <pc:sldMk cId="3536096567" sldId="3257"/>
            <ac:picMk id="12" creationId="{F8FFA981-872C-4796-9653-9B24E889FA90}"/>
          </ac:picMkLst>
        </pc:picChg>
        <pc:picChg chg="mod">
          <ac:chgData name="Robert Hokin" userId="716caab2-0991-4278-8ec6-0588b66ef10d" providerId="ADAL" clId="{3136ABB0-5E07-4FDA-BC98-31E67987D5C7}" dt="2020-08-13T17:10:58.243" v="1136" actId="14100"/>
          <ac:picMkLst>
            <pc:docMk/>
            <pc:sldMk cId="3536096567" sldId="3257"/>
            <ac:picMk id="66" creationId="{AA7EE63E-D4CD-422B-AC66-093329BFEA4D}"/>
          </ac:picMkLst>
        </pc:picChg>
      </pc:sldChg>
      <pc:sldChg chg="del">
        <pc:chgData name="Robert Hokin" userId="716caab2-0991-4278-8ec6-0588b66ef10d" providerId="ADAL" clId="{3136ABB0-5E07-4FDA-BC98-31E67987D5C7}" dt="2020-08-13T16:57:49.568" v="197" actId="47"/>
        <pc:sldMkLst>
          <pc:docMk/>
          <pc:sldMk cId="3953553437" sldId="3258"/>
        </pc:sldMkLst>
      </pc:sldChg>
      <pc:sldChg chg="del">
        <pc:chgData name="Robert Hokin" userId="716caab2-0991-4278-8ec6-0588b66ef10d" providerId="ADAL" clId="{3136ABB0-5E07-4FDA-BC98-31E67987D5C7}" dt="2020-08-13T16:53:20.674" v="3" actId="47"/>
        <pc:sldMkLst>
          <pc:docMk/>
          <pc:sldMk cId="2596208475" sldId="3259"/>
        </pc:sldMkLst>
      </pc:sldChg>
      <pc:sldChg chg="del">
        <pc:chgData name="Robert Hokin" userId="716caab2-0991-4278-8ec6-0588b66ef10d" providerId="ADAL" clId="{3136ABB0-5E07-4FDA-BC98-31E67987D5C7}" dt="2020-08-13T16:54:15.663" v="6" actId="47"/>
        <pc:sldMkLst>
          <pc:docMk/>
          <pc:sldMk cId="2660257499" sldId="3261"/>
        </pc:sldMkLst>
      </pc:sldChg>
      <pc:sldChg chg="addSp delSp modSp del mod ord">
        <pc:chgData name="Robert Hokin" userId="716caab2-0991-4278-8ec6-0588b66ef10d" providerId="ADAL" clId="{3136ABB0-5E07-4FDA-BC98-31E67987D5C7}" dt="2020-08-19T15:01:23.665" v="4850" actId="47"/>
        <pc:sldMkLst>
          <pc:docMk/>
          <pc:sldMk cId="3273717732" sldId="3263"/>
        </pc:sldMkLst>
        <pc:spChg chg="add mod">
          <ac:chgData name="Robert Hokin" userId="716caab2-0991-4278-8ec6-0588b66ef10d" providerId="ADAL" clId="{3136ABB0-5E07-4FDA-BC98-31E67987D5C7}" dt="2020-08-19T12:16:38.585" v="3142" actId="114"/>
          <ac:spMkLst>
            <pc:docMk/>
            <pc:sldMk cId="3273717732" sldId="3263"/>
            <ac:spMk id="2" creationId="{B0E1B4F5-0196-468C-8A50-0DE4685E5455}"/>
          </ac:spMkLst>
        </pc:spChg>
        <pc:spChg chg="add del">
          <ac:chgData name="Robert Hokin" userId="716caab2-0991-4278-8ec6-0588b66ef10d" providerId="ADAL" clId="{3136ABB0-5E07-4FDA-BC98-31E67987D5C7}" dt="2020-08-19T12:17:58.612" v="3203" actId="22"/>
          <ac:spMkLst>
            <pc:docMk/>
            <pc:sldMk cId="3273717732" sldId="3263"/>
            <ac:spMk id="3" creationId="{A609F193-AF6F-48BE-979F-AE94C11B368B}"/>
          </ac:spMkLst>
        </pc:spChg>
        <pc:spChg chg="add del">
          <ac:chgData name="Robert Hokin" userId="716caab2-0991-4278-8ec6-0588b66ef10d" providerId="ADAL" clId="{3136ABB0-5E07-4FDA-BC98-31E67987D5C7}" dt="2020-08-19T12:17:55.983" v="3202" actId="22"/>
          <ac:spMkLst>
            <pc:docMk/>
            <pc:sldMk cId="3273717732" sldId="3263"/>
            <ac:spMk id="4" creationId="{8AA77278-97EB-4C43-90F9-0E123A98D585}"/>
          </ac:spMkLst>
        </pc:spChg>
        <pc:spChg chg="del mod">
          <ac:chgData name="Robert Hokin" userId="716caab2-0991-4278-8ec6-0588b66ef10d" providerId="ADAL" clId="{3136ABB0-5E07-4FDA-BC98-31E67987D5C7}" dt="2020-08-14T08:11:31.150" v="2174" actId="478"/>
          <ac:spMkLst>
            <pc:docMk/>
            <pc:sldMk cId="3273717732" sldId="3263"/>
            <ac:spMk id="9" creationId="{A0A6A1CF-79BA-4074-A461-748486976909}"/>
          </ac:spMkLst>
        </pc:spChg>
        <pc:spChg chg="add del mod">
          <ac:chgData name="Robert Hokin" userId="716caab2-0991-4278-8ec6-0588b66ef10d" providerId="ADAL" clId="{3136ABB0-5E07-4FDA-BC98-31E67987D5C7}" dt="2020-08-19T14:58:06.079" v="4711" actId="21"/>
          <ac:spMkLst>
            <pc:docMk/>
            <pc:sldMk cId="3273717732" sldId="3263"/>
            <ac:spMk id="21" creationId="{06EA6490-6646-41DF-8116-532F30A4CA47}"/>
          </ac:spMkLst>
        </pc:spChg>
        <pc:spChg chg="mod">
          <ac:chgData name="Robert Hokin" userId="716caab2-0991-4278-8ec6-0588b66ef10d" providerId="ADAL" clId="{3136ABB0-5E07-4FDA-BC98-31E67987D5C7}" dt="2020-08-19T12:17:37.453" v="3199" actId="1038"/>
          <ac:spMkLst>
            <pc:docMk/>
            <pc:sldMk cId="3273717732" sldId="3263"/>
            <ac:spMk id="33" creationId="{A2FE61D5-F22B-40FB-863E-A0AAE7A44B07}"/>
          </ac:spMkLst>
        </pc:spChg>
        <pc:spChg chg="del mod">
          <ac:chgData name="Robert Hokin" userId="716caab2-0991-4278-8ec6-0588b66ef10d" providerId="ADAL" clId="{3136ABB0-5E07-4FDA-BC98-31E67987D5C7}" dt="2020-08-19T12:16:19.643" v="3020" actId="478"/>
          <ac:spMkLst>
            <pc:docMk/>
            <pc:sldMk cId="3273717732" sldId="3263"/>
            <ac:spMk id="61" creationId="{BF47D637-F6B8-472E-9632-77DEF207218B}"/>
          </ac:spMkLst>
        </pc:spChg>
        <pc:picChg chg="add del">
          <ac:chgData name="Robert Hokin" userId="716caab2-0991-4278-8ec6-0588b66ef10d" providerId="ADAL" clId="{3136ABB0-5E07-4FDA-BC98-31E67987D5C7}" dt="2020-08-19T12:19:35.303" v="3234" actId="478"/>
          <ac:picMkLst>
            <pc:docMk/>
            <pc:sldMk cId="3273717732" sldId="3263"/>
            <ac:picMk id="5" creationId="{527BB6E1-9082-48D0-AC53-40E52EDE628D}"/>
          </ac:picMkLst>
        </pc:picChg>
        <pc:picChg chg="add">
          <ac:chgData name="Robert Hokin" userId="716caab2-0991-4278-8ec6-0588b66ef10d" providerId="ADAL" clId="{3136ABB0-5E07-4FDA-BC98-31E67987D5C7}" dt="2020-08-19T12:19:35.835" v="3235" actId="22"/>
          <ac:picMkLst>
            <pc:docMk/>
            <pc:sldMk cId="3273717732" sldId="3263"/>
            <ac:picMk id="6" creationId="{585BDEAB-77E1-43DE-B098-3CB25D29F46F}"/>
          </ac:picMkLst>
        </pc:picChg>
        <pc:picChg chg="del">
          <ac:chgData name="Robert Hokin" userId="716caab2-0991-4278-8ec6-0588b66ef10d" providerId="ADAL" clId="{3136ABB0-5E07-4FDA-BC98-31E67987D5C7}" dt="2020-08-19T12:18:54.236" v="3224" actId="478"/>
          <ac:picMkLst>
            <pc:docMk/>
            <pc:sldMk cId="3273717732" sldId="3263"/>
            <ac:picMk id="32" creationId="{CEEDB95C-3388-4A84-AB9F-0CFCF93CC63E}"/>
          </ac:picMkLst>
        </pc:picChg>
        <pc:picChg chg="mod">
          <ac:chgData name="Robert Hokin" userId="716caab2-0991-4278-8ec6-0588b66ef10d" providerId="ADAL" clId="{3136ABB0-5E07-4FDA-BC98-31E67987D5C7}" dt="2020-08-19T15:01:18.670" v="4849" actId="1076"/>
          <ac:picMkLst>
            <pc:docMk/>
            <pc:sldMk cId="3273717732" sldId="3263"/>
            <ac:picMk id="34" creationId="{B498E43E-5A0D-4539-AEB3-90A409A03EE3}"/>
          </ac:picMkLst>
        </pc:picChg>
        <pc:picChg chg="mod">
          <ac:chgData name="Robert Hokin" userId="716caab2-0991-4278-8ec6-0588b66ef10d" providerId="ADAL" clId="{3136ABB0-5E07-4FDA-BC98-31E67987D5C7}" dt="2020-08-19T15:01:15.283" v="4848" actId="1076"/>
          <ac:picMkLst>
            <pc:docMk/>
            <pc:sldMk cId="3273717732" sldId="3263"/>
            <ac:picMk id="35" creationId="{5BA106A2-9AD0-41A2-8CC2-A3AB4C31D7B9}"/>
          </ac:picMkLst>
        </pc:picChg>
        <pc:picChg chg="del mod">
          <ac:chgData name="Robert Hokin" userId="716caab2-0991-4278-8ec6-0588b66ef10d" providerId="ADAL" clId="{3136ABB0-5E07-4FDA-BC98-31E67987D5C7}" dt="2020-08-19T14:57:27.388" v="4593" actId="478"/>
          <ac:picMkLst>
            <pc:docMk/>
            <pc:sldMk cId="3273717732" sldId="3263"/>
            <ac:picMk id="36" creationId="{97CC47B8-4CCB-4D54-9384-A3DEFD787AE1}"/>
          </ac:picMkLst>
        </pc:picChg>
        <pc:picChg chg="add del mod">
          <ac:chgData name="Robert Hokin" userId="716caab2-0991-4278-8ec6-0588b66ef10d" providerId="ADAL" clId="{3136ABB0-5E07-4FDA-BC98-31E67987D5C7}" dt="2020-08-19T14:56:28.465" v="4589" actId="478"/>
          <ac:picMkLst>
            <pc:docMk/>
            <pc:sldMk cId="3273717732" sldId="3263"/>
            <ac:picMk id="30722" creationId="{F8AE88B7-3B35-41E7-B5E7-30ECFF4A77CE}"/>
          </ac:picMkLst>
        </pc:picChg>
        <pc:picChg chg="add del mod">
          <ac:chgData name="Robert Hokin" userId="716caab2-0991-4278-8ec6-0588b66ef10d" providerId="ADAL" clId="{3136ABB0-5E07-4FDA-BC98-31E67987D5C7}" dt="2020-08-19T14:58:02.505" v="4710" actId="478"/>
          <ac:picMkLst>
            <pc:docMk/>
            <pc:sldMk cId="3273717732" sldId="3263"/>
            <ac:picMk id="30724" creationId="{887CDF9A-7632-47FF-9737-A5909E38ECB9}"/>
          </ac:picMkLst>
        </pc:picChg>
      </pc:sldChg>
      <pc:sldChg chg="addSp delSp modSp del mod">
        <pc:chgData name="Robert Hokin" userId="716caab2-0991-4278-8ec6-0588b66ef10d" providerId="ADAL" clId="{3136ABB0-5E07-4FDA-BC98-31E67987D5C7}" dt="2020-08-19T12:18:43.789" v="3223" actId="47"/>
        <pc:sldMkLst>
          <pc:docMk/>
          <pc:sldMk cId="755383362" sldId="3264"/>
        </pc:sldMkLst>
        <pc:spChg chg="del">
          <ac:chgData name="Robert Hokin" userId="716caab2-0991-4278-8ec6-0588b66ef10d" providerId="ADAL" clId="{3136ABB0-5E07-4FDA-BC98-31E67987D5C7}" dt="2020-08-13T17:24:57.953" v="1588" actId="478"/>
          <ac:spMkLst>
            <pc:docMk/>
            <pc:sldMk cId="755383362" sldId="3264"/>
            <ac:spMk id="27" creationId="{4CB40464-D1C6-48B6-AEC3-EC08A07B2762}"/>
          </ac:spMkLst>
        </pc:spChg>
        <pc:spChg chg="mod">
          <ac:chgData name="Robert Hokin" userId="716caab2-0991-4278-8ec6-0588b66ef10d" providerId="ADAL" clId="{3136ABB0-5E07-4FDA-BC98-31E67987D5C7}" dt="2020-08-13T17:25:30.183" v="1754" actId="1037"/>
          <ac:spMkLst>
            <pc:docMk/>
            <pc:sldMk cId="755383362" sldId="3264"/>
            <ac:spMk id="33" creationId="{A2FE61D5-F22B-40FB-863E-A0AAE7A44B07}"/>
          </ac:spMkLst>
        </pc:spChg>
        <pc:spChg chg="del">
          <ac:chgData name="Robert Hokin" userId="716caab2-0991-4278-8ec6-0588b66ef10d" providerId="ADAL" clId="{3136ABB0-5E07-4FDA-BC98-31E67987D5C7}" dt="2020-08-13T17:25:06.455" v="1589" actId="478"/>
          <ac:spMkLst>
            <pc:docMk/>
            <pc:sldMk cId="755383362" sldId="3264"/>
            <ac:spMk id="61" creationId="{BF47D637-F6B8-472E-9632-77DEF207218B}"/>
          </ac:spMkLst>
        </pc:spChg>
        <pc:picChg chg="add del">
          <ac:chgData name="Robert Hokin" userId="716caab2-0991-4278-8ec6-0588b66ef10d" providerId="ADAL" clId="{3136ABB0-5E07-4FDA-BC98-31E67987D5C7}" dt="2020-08-13T17:20:07.805" v="1454" actId="22"/>
          <ac:picMkLst>
            <pc:docMk/>
            <pc:sldMk cId="755383362" sldId="3264"/>
            <ac:picMk id="2" creationId="{38A8E4FD-76CC-4D6C-B170-4C6B9C8AEA39}"/>
          </ac:picMkLst>
        </pc:picChg>
        <pc:picChg chg="add del mod">
          <ac:chgData name="Robert Hokin" userId="716caab2-0991-4278-8ec6-0588b66ef10d" providerId="ADAL" clId="{3136ABB0-5E07-4FDA-BC98-31E67987D5C7}" dt="2020-08-13T17:21:04.301" v="1466" actId="478"/>
          <ac:picMkLst>
            <pc:docMk/>
            <pc:sldMk cId="755383362" sldId="3264"/>
            <ac:picMk id="4" creationId="{C815A063-7C1D-4472-99A9-C7578CE31D9E}"/>
          </ac:picMkLst>
        </pc:picChg>
        <pc:picChg chg="add">
          <ac:chgData name="Robert Hokin" userId="716caab2-0991-4278-8ec6-0588b66ef10d" providerId="ADAL" clId="{3136ABB0-5E07-4FDA-BC98-31E67987D5C7}" dt="2020-08-13T17:25:17.628" v="1681" actId="22"/>
          <ac:picMkLst>
            <pc:docMk/>
            <pc:sldMk cId="755383362" sldId="3264"/>
            <ac:picMk id="5" creationId="{53ABCC15-F4D1-4307-B844-3720800DFC73}"/>
          </ac:picMkLst>
        </pc:picChg>
        <pc:picChg chg="del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11" creationId="{380CA0ED-4230-4F62-8F10-EBC1EE85F385}"/>
          </ac:picMkLst>
        </pc:picChg>
        <pc:picChg chg="del mod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13" creationId="{C939EF85-7A69-44C3-B3B6-142C064397E0}"/>
          </ac:picMkLst>
        </pc:picChg>
        <pc:picChg chg="del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14" creationId="{C4D7E441-AAC0-420A-99F9-5274FF351783}"/>
          </ac:picMkLst>
        </pc:picChg>
        <pc:picChg chg="del mod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15" creationId="{89B03394-9767-48F1-BF79-4E1527035E1E}"/>
          </ac:picMkLst>
        </pc:picChg>
        <pc:picChg chg="del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16" creationId="{D0D78FE0-B7E9-4775-9324-2A69A2257989}"/>
          </ac:picMkLst>
        </pc:picChg>
        <pc:picChg chg="del mod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17" creationId="{D31C2A20-29A8-4B13-A601-386C1F1FDBAE}"/>
          </ac:picMkLst>
        </pc:picChg>
        <pc:picChg chg="del mod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18" creationId="{9A90D8D2-4084-4DFC-93C2-A86D1795664D}"/>
          </ac:picMkLst>
        </pc:picChg>
        <pc:picChg chg="del mod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19" creationId="{F2A7BED6-F518-4C89-9E7A-64EEB16D8511}"/>
          </ac:picMkLst>
        </pc:picChg>
        <pc:picChg chg="del mod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20" creationId="{38456E39-AEAA-4301-86C7-235F04E4E9AC}"/>
          </ac:picMkLst>
        </pc:picChg>
        <pc:picChg chg="del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21" creationId="{C5BCCE70-3236-41A1-94FB-05F900B1DFA3}"/>
          </ac:picMkLst>
        </pc:picChg>
        <pc:picChg chg="del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22" creationId="{C52E5FCF-F9C6-49F1-9FDD-9905ED714B11}"/>
          </ac:picMkLst>
        </pc:picChg>
        <pc:picChg chg="del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23" creationId="{2EAEDAD9-BC46-4D10-ADA2-216481E1A43C}"/>
          </ac:picMkLst>
        </pc:picChg>
        <pc:picChg chg="del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24" creationId="{FF204E92-17A7-4588-A93F-3721F2A86D50}"/>
          </ac:picMkLst>
        </pc:picChg>
        <pc:picChg chg="del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25" creationId="{916BB655-1A4B-4CA8-8D79-B9964DC7F550}"/>
          </ac:picMkLst>
        </pc:picChg>
        <pc:picChg chg="del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26" creationId="{4CACD9CA-7E53-4F9F-A038-F7E6F17A95EF}"/>
          </ac:picMkLst>
        </pc:picChg>
        <pc:picChg chg="del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28" creationId="{DCFDD24D-7828-41F5-B672-14722DAFD9D3}"/>
          </ac:picMkLst>
        </pc:picChg>
        <pc:picChg chg="del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29" creationId="{2A02273E-0ECE-4959-A798-41CB74CEA0B8}"/>
          </ac:picMkLst>
        </pc:picChg>
        <pc:picChg chg="del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30" creationId="{71C49B14-CB17-478B-9F42-79AB99CF10CF}"/>
          </ac:picMkLst>
        </pc:picChg>
        <pc:picChg chg="del mod">
          <ac:chgData name="Robert Hokin" userId="716caab2-0991-4278-8ec6-0588b66ef10d" providerId="ADAL" clId="{3136ABB0-5E07-4FDA-BC98-31E67987D5C7}" dt="2020-08-13T17:20:04.826" v="1452" actId="478"/>
          <ac:picMkLst>
            <pc:docMk/>
            <pc:sldMk cId="755383362" sldId="3264"/>
            <ac:picMk id="31" creationId="{A61E914A-E039-47A2-BEF7-0FC2BF563991}"/>
          </ac:picMkLst>
        </pc:picChg>
        <pc:picChg chg="del">
          <ac:chgData name="Robert Hokin" userId="716caab2-0991-4278-8ec6-0588b66ef10d" providerId="ADAL" clId="{3136ABB0-5E07-4FDA-BC98-31E67987D5C7}" dt="2020-08-13T17:20:00.541" v="1451" actId="478"/>
          <ac:picMkLst>
            <pc:docMk/>
            <pc:sldMk cId="755383362" sldId="3264"/>
            <ac:picMk id="34" creationId="{329B3C04-798D-4E94-997C-76D958E2B38A}"/>
          </ac:picMkLst>
        </pc:picChg>
        <pc:picChg chg="add del mod">
          <ac:chgData name="Robert Hokin" userId="716caab2-0991-4278-8ec6-0588b66ef10d" providerId="ADAL" clId="{3136ABB0-5E07-4FDA-BC98-31E67987D5C7}" dt="2020-08-13T17:21:37.929" v="1471" actId="478"/>
          <ac:picMkLst>
            <pc:docMk/>
            <pc:sldMk cId="755383362" sldId="3264"/>
            <ac:picMk id="43010" creationId="{22CE4939-5E16-4752-8C9F-D5AE7FF9F294}"/>
          </ac:picMkLst>
        </pc:picChg>
        <pc:picChg chg="add mod">
          <ac:chgData name="Robert Hokin" userId="716caab2-0991-4278-8ec6-0588b66ef10d" providerId="ADAL" clId="{3136ABB0-5E07-4FDA-BC98-31E67987D5C7}" dt="2020-08-14T08:09:21.442" v="2172" actId="14100"/>
          <ac:picMkLst>
            <pc:docMk/>
            <pc:sldMk cId="755383362" sldId="3264"/>
            <ac:picMk id="43012" creationId="{7630F1C9-C984-46BD-8AF5-3BFD5A5455CE}"/>
          </ac:picMkLst>
        </pc:picChg>
      </pc:sldChg>
      <pc:sldChg chg="del">
        <pc:chgData name="Robert Hokin" userId="716caab2-0991-4278-8ec6-0588b66ef10d" providerId="ADAL" clId="{3136ABB0-5E07-4FDA-BC98-31E67987D5C7}" dt="2020-08-13T16:54:32.581" v="8" actId="47"/>
        <pc:sldMkLst>
          <pc:docMk/>
          <pc:sldMk cId="2191435297" sldId="3266"/>
        </pc:sldMkLst>
      </pc:sldChg>
      <pc:sldChg chg="del">
        <pc:chgData name="Robert Hokin" userId="716caab2-0991-4278-8ec6-0588b66ef10d" providerId="ADAL" clId="{3136ABB0-5E07-4FDA-BC98-31E67987D5C7}" dt="2020-08-13T16:57:50.283" v="198" actId="47"/>
        <pc:sldMkLst>
          <pc:docMk/>
          <pc:sldMk cId="1481672351" sldId="3267"/>
        </pc:sldMkLst>
      </pc:sldChg>
      <pc:sldChg chg="del">
        <pc:chgData name="Robert Hokin" userId="716caab2-0991-4278-8ec6-0588b66ef10d" providerId="ADAL" clId="{3136ABB0-5E07-4FDA-BC98-31E67987D5C7}" dt="2020-08-13T16:54:42.129" v="11" actId="47"/>
        <pc:sldMkLst>
          <pc:docMk/>
          <pc:sldMk cId="527170278" sldId="3268"/>
        </pc:sldMkLst>
      </pc:sldChg>
      <pc:sldChg chg="del">
        <pc:chgData name="Robert Hokin" userId="716caab2-0991-4278-8ec6-0588b66ef10d" providerId="ADAL" clId="{3136ABB0-5E07-4FDA-BC98-31E67987D5C7}" dt="2020-08-13T16:54:59.018" v="32" actId="47"/>
        <pc:sldMkLst>
          <pc:docMk/>
          <pc:sldMk cId="1912602329" sldId="3269"/>
        </pc:sldMkLst>
      </pc:sldChg>
      <pc:sldChg chg="del">
        <pc:chgData name="Robert Hokin" userId="716caab2-0991-4278-8ec6-0588b66ef10d" providerId="ADAL" clId="{3136ABB0-5E07-4FDA-BC98-31E67987D5C7}" dt="2020-08-13T16:54:59.966" v="33" actId="47"/>
        <pc:sldMkLst>
          <pc:docMk/>
          <pc:sldMk cId="249864734" sldId="3270"/>
        </pc:sldMkLst>
      </pc:sldChg>
      <pc:sldChg chg="del">
        <pc:chgData name="Robert Hokin" userId="716caab2-0991-4278-8ec6-0588b66ef10d" providerId="ADAL" clId="{3136ABB0-5E07-4FDA-BC98-31E67987D5C7}" dt="2020-08-13T16:55:08.351" v="48" actId="47"/>
        <pc:sldMkLst>
          <pc:docMk/>
          <pc:sldMk cId="2065962437" sldId="3271"/>
        </pc:sldMkLst>
      </pc:sldChg>
      <pc:sldChg chg="del">
        <pc:chgData name="Robert Hokin" userId="716caab2-0991-4278-8ec6-0588b66ef10d" providerId="ADAL" clId="{3136ABB0-5E07-4FDA-BC98-31E67987D5C7}" dt="2020-08-13T16:55:09.231" v="49" actId="47"/>
        <pc:sldMkLst>
          <pc:docMk/>
          <pc:sldMk cId="2121420501" sldId="3272"/>
        </pc:sldMkLst>
      </pc:sldChg>
      <pc:sldChg chg="del">
        <pc:chgData name="Robert Hokin" userId="716caab2-0991-4278-8ec6-0588b66ef10d" providerId="ADAL" clId="{3136ABB0-5E07-4FDA-BC98-31E67987D5C7}" dt="2020-08-13T16:55:12.520" v="60" actId="47"/>
        <pc:sldMkLst>
          <pc:docMk/>
          <pc:sldMk cId="1900808637" sldId="3273"/>
        </pc:sldMkLst>
      </pc:sldChg>
      <pc:sldChg chg="del">
        <pc:chgData name="Robert Hokin" userId="716caab2-0991-4278-8ec6-0588b66ef10d" providerId="ADAL" clId="{3136ABB0-5E07-4FDA-BC98-31E67987D5C7}" dt="2020-08-13T16:55:12.638" v="61" actId="47"/>
        <pc:sldMkLst>
          <pc:docMk/>
          <pc:sldMk cId="3948690827" sldId="3274"/>
        </pc:sldMkLst>
      </pc:sldChg>
      <pc:sldChg chg="del">
        <pc:chgData name="Robert Hokin" userId="716caab2-0991-4278-8ec6-0588b66ef10d" providerId="ADAL" clId="{3136ABB0-5E07-4FDA-BC98-31E67987D5C7}" dt="2020-08-13T16:55:15.748" v="75" actId="47"/>
        <pc:sldMkLst>
          <pc:docMk/>
          <pc:sldMk cId="1131193255" sldId="3275"/>
        </pc:sldMkLst>
      </pc:sldChg>
      <pc:sldChg chg="del">
        <pc:chgData name="Robert Hokin" userId="716caab2-0991-4278-8ec6-0588b66ef10d" providerId="ADAL" clId="{3136ABB0-5E07-4FDA-BC98-31E67987D5C7}" dt="2020-08-13T16:55:15.877" v="76" actId="47"/>
        <pc:sldMkLst>
          <pc:docMk/>
          <pc:sldMk cId="1702520756" sldId="3276"/>
        </pc:sldMkLst>
      </pc:sldChg>
      <pc:sldChg chg="del">
        <pc:chgData name="Robert Hokin" userId="716caab2-0991-4278-8ec6-0588b66ef10d" providerId="ADAL" clId="{3136ABB0-5E07-4FDA-BC98-31E67987D5C7}" dt="2020-08-13T16:56:29.860" v="96" actId="47"/>
        <pc:sldMkLst>
          <pc:docMk/>
          <pc:sldMk cId="4219228687" sldId="3277"/>
        </pc:sldMkLst>
      </pc:sldChg>
      <pc:sldChg chg="del">
        <pc:chgData name="Robert Hokin" userId="716caab2-0991-4278-8ec6-0588b66ef10d" providerId="ADAL" clId="{3136ABB0-5E07-4FDA-BC98-31E67987D5C7}" dt="2020-08-13T16:56:30.564" v="97" actId="47"/>
        <pc:sldMkLst>
          <pc:docMk/>
          <pc:sldMk cId="3614715530" sldId="3280"/>
        </pc:sldMkLst>
      </pc:sldChg>
      <pc:sldChg chg="del">
        <pc:chgData name="Robert Hokin" userId="716caab2-0991-4278-8ec6-0588b66ef10d" providerId="ADAL" clId="{3136ABB0-5E07-4FDA-BC98-31E67987D5C7}" dt="2020-08-13T16:56:37.482" v="108" actId="47"/>
        <pc:sldMkLst>
          <pc:docMk/>
          <pc:sldMk cId="4126158326" sldId="3281"/>
        </pc:sldMkLst>
      </pc:sldChg>
      <pc:sldChg chg="del">
        <pc:chgData name="Robert Hokin" userId="716caab2-0991-4278-8ec6-0588b66ef10d" providerId="ADAL" clId="{3136ABB0-5E07-4FDA-BC98-31E67987D5C7}" dt="2020-08-13T16:56:37.512" v="109" actId="47"/>
        <pc:sldMkLst>
          <pc:docMk/>
          <pc:sldMk cId="2641010125" sldId="3282"/>
        </pc:sldMkLst>
      </pc:sldChg>
      <pc:sldChg chg="del">
        <pc:chgData name="Robert Hokin" userId="716caab2-0991-4278-8ec6-0588b66ef10d" providerId="ADAL" clId="{3136ABB0-5E07-4FDA-BC98-31E67987D5C7}" dt="2020-08-13T16:56:43.645" v="125" actId="47"/>
        <pc:sldMkLst>
          <pc:docMk/>
          <pc:sldMk cId="2693348091" sldId="3283"/>
        </pc:sldMkLst>
      </pc:sldChg>
      <pc:sldChg chg="del">
        <pc:chgData name="Robert Hokin" userId="716caab2-0991-4278-8ec6-0588b66ef10d" providerId="ADAL" clId="{3136ABB0-5E07-4FDA-BC98-31E67987D5C7}" dt="2020-08-13T16:56:44.185" v="126" actId="47"/>
        <pc:sldMkLst>
          <pc:docMk/>
          <pc:sldMk cId="3630213523" sldId="3284"/>
        </pc:sldMkLst>
      </pc:sldChg>
      <pc:sldChg chg="del">
        <pc:chgData name="Robert Hokin" userId="716caab2-0991-4278-8ec6-0588b66ef10d" providerId="ADAL" clId="{3136ABB0-5E07-4FDA-BC98-31E67987D5C7}" dt="2020-08-13T16:56:51.294" v="139" actId="47"/>
        <pc:sldMkLst>
          <pc:docMk/>
          <pc:sldMk cId="3841249567" sldId="3285"/>
        </pc:sldMkLst>
      </pc:sldChg>
      <pc:sldChg chg="del">
        <pc:chgData name="Robert Hokin" userId="716caab2-0991-4278-8ec6-0588b66ef10d" providerId="ADAL" clId="{3136ABB0-5E07-4FDA-BC98-31E67987D5C7}" dt="2020-08-13T16:56:52.624" v="140" actId="47"/>
        <pc:sldMkLst>
          <pc:docMk/>
          <pc:sldMk cId="547660116" sldId="3287"/>
        </pc:sldMkLst>
      </pc:sldChg>
      <pc:sldChg chg="del">
        <pc:chgData name="Robert Hokin" userId="716caab2-0991-4278-8ec6-0588b66ef10d" providerId="ADAL" clId="{3136ABB0-5E07-4FDA-BC98-31E67987D5C7}" dt="2020-08-13T16:57:00.423" v="156" actId="47"/>
        <pc:sldMkLst>
          <pc:docMk/>
          <pc:sldMk cId="2625739334" sldId="3288"/>
        </pc:sldMkLst>
      </pc:sldChg>
      <pc:sldChg chg="del">
        <pc:chgData name="Robert Hokin" userId="716caab2-0991-4278-8ec6-0588b66ef10d" providerId="ADAL" clId="{3136ABB0-5E07-4FDA-BC98-31E67987D5C7}" dt="2020-08-13T16:57:01.040" v="157" actId="47"/>
        <pc:sldMkLst>
          <pc:docMk/>
          <pc:sldMk cId="635330912" sldId="3289"/>
        </pc:sldMkLst>
      </pc:sldChg>
      <pc:sldChg chg="del">
        <pc:chgData name="Robert Hokin" userId="716caab2-0991-4278-8ec6-0588b66ef10d" providerId="ADAL" clId="{3136ABB0-5E07-4FDA-BC98-31E67987D5C7}" dt="2020-08-13T16:57:08.018" v="168" actId="47"/>
        <pc:sldMkLst>
          <pc:docMk/>
          <pc:sldMk cId="2657999585" sldId="3290"/>
        </pc:sldMkLst>
      </pc:sldChg>
      <pc:sldChg chg="del">
        <pc:chgData name="Robert Hokin" userId="716caab2-0991-4278-8ec6-0588b66ef10d" providerId="ADAL" clId="{3136ABB0-5E07-4FDA-BC98-31E67987D5C7}" dt="2020-08-13T16:57:08.707" v="169" actId="47"/>
        <pc:sldMkLst>
          <pc:docMk/>
          <pc:sldMk cId="3251992749" sldId="3291"/>
        </pc:sldMkLst>
      </pc:sldChg>
      <pc:sldChg chg="del">
        <pc:chgData name="Robert Hokin" userId="716caab2-0991-4278-8ec6-0588b66ef10d" providerId="ADAL" clId="{3136ABB0-5E07-4FDA-BC98-31E67987D5C7}" dt="2020-08-13T16:57:11.292" v="177" actId="47"/>
        <pc:sldMkLst>
          <pc:docMk/>
          <pc:sldMk cId="2240221094" sldId="3292"/>
        </pc:sldMkLst>
      </pc:sldChg>
      <pc:sldChg chg="del">
        <pc:chgData name="Robert Hokin" userId="716caab2-0991-4278-8ec6-0588b66ef10d" providerId="ADAL" clId="{3136ABB0-5E07-4FDA-BC98-31E67987D5C7}" dt="2020-08-13T16:57:12.250" v="179" actId="47"/>
        <pc:sldMkLst>
          <pc:docMk/>
          <pc:sldMk cId="251351119" sldId="3294"/>
        </pc:sldMkLst>
      </pc:sldChg>
      <pc:sldChg chg="del">
        <pc:chgData name="Robert Hokin" userId="716caab2-0991-4278-8ec6-0588b66ef10d" providerId="ADAL" clId="{3136ABB0-5E07-4FDA-BC98-31E67987D5C7}" dt="2020-08-13T16:57:53.707" v="200" actId="47"/>
        <pc:sldMkLst>
          <pc:docMk/>
          <pc:sldMk cId="1591121763" sldId="3295"/>
        </pc:sldMkLst>
      </pc:sldChg>
      <pc:sldChg chg="del">
        <pc:chgData name="Robert Hokin" userId="716caab2-0991-4278-8ec6-0588b66ef10d" providerId="ADAL" clId="{3136ABB0-5E07-4FDA-BC98-31E67987D5C7}" dt="2020-08-13T16:57:19.713" v="187" actId="47"/>
        <pc:sldMkLst>
          <pc:docMk/>
          <pc:sldMk cId="1260190157" sldId="3296"/>
        </pc:sldMkLst>
      </pc:sldChg>
      <pc:sldChg chg="del">
        <pc:chgData name="Robert Hokin" userId="716caab2-0991-4278-8ec6-0588b66ef10d" providerId="ADAL" clId="{3136ABB0-5E07-4FDA-BC98-31E67987D5C7}" dt="2020-08-13T16:57:17.978" v="185" actId="47"/>
        <pc:sldMkLst>
          <pc:docMk/>
          <pc:sldMk cId="2645280030" sldId="3297"/>
        </pc:sldMkLst>
      </pc:sldChg>
      <pc:sldChg chg="del">
        <pc:chgData name="Robert Hokin" userId="716caab2-0991-4278-8ec6-0588b66ef10d" providerId="ADAL" clId="{3136ABB0-5E07-4FDA-BC98-31E67987D5C7}" dt="2020-08-13T16:57:23.376" v="191" actId="47"/>
        <pc:sldMkLst>
          <pc:docMk/>
          <pc:sldMk cId="2900761048" sldId="3298"/>
        </pc:sldMkLst>
      </pc:sldChg>
      <pc:sldChg chg="del">
        <pc:chgData name="Robert Hokin" userId="716caab2-0991-4278-8ec6-0588b66ef10d" providerId="ADAL" clId="{3136ABB0-5E07-4FDA-BC98-31E67987D5C7}" dt="2020-08-13T16:57:13.248" v="181" actId="47"/>
        <pc:sldMkLst>
          <pc:docMk/>
          <pc:sldMk cId="2720163699" sldId="3299"/>
        </pc:sldMkLst>
      </pc:sldChg>
      <pc:sldChg chg="del">
        <pc:chgData name="Robert Hokin" userId="716caab2-0991-4278-8ec6-0588b66ef10d" providerId="ADAL" clId="{3136ABB0-5E07-4FDA-BC98-31E67987D5C7}" dt="2020-08-13T16:57:54.808" v="201" actId="47"/>
        <pc:sldMkLst>
          <pc:docMk/>
          <pc:sldMk cId="2256515638" sldId="3300"/>
        </pc:sldMkLst>
      </pc:sldChg>
      <pc:sldChg chg="add del">
        <pc:chgData name="Robert Hokin" userId="716caab2-0991-4278-8ec6-0588b66ef10d" providerId="ADAL" clId="{3136ABB0-5E07-4FDA-BC98-31E67987D5C7}" dt="2020-08-14T08:17:03.596" v="2523" actId="47"/>
        <pc:sldMkLst>
          <pc:docMk/>
          <pc:sldMk cId="530040845" sldId="3301"/>
        </pc:sldMkLst>
      </pc:sldChg>
      <pc:sldChg chg="del">
        <pc:chgData name="Robert Hokin" userId="716caab2-0991-4278-8ec6-0588b66ef10d" providerId="ADAL" clId="{3136ABB0-5E07-4FDA-BC98-31E67987D5C7}" dt="2020-08-13T17:24:30.375" v="1553" actId="47"/>
        <pc:sldMkLst>
          <pc:docMk/>
          <pc:sldMk cId="1459527319" sldId="3302"/>
        </pc:sldMkLst>
      </pc:sldChg>
      <pc:sldChg chg="del">
        <pc:chgData name="Robert Hokin" userId="716caab2-0991-4278-8ec6-0588b66ef10d" providerId="ADAL" clId="{3136ABB0-5E07-4FDA-BC98-31E67987D5C7}" dt="2020-08-13T16:57:21.029" v="189" actId="47"/>
        <pc:sldMkLst>
          <pc:docMk/>
          <pc:sldMk cId="1593174986" sldId="3303"/>
        </pc:sldMkLst>
      </pc:sldChg>
      <pc:sldChg chg="del">
        <pc:chgData name="Robert Hokin" userId="716caab2-0991-4278-8ec6-0588b66ef10d" providerId="ADAL" clId="{3136ABB0-5E07-4FDA-BC98-31E67987D5C7}" dt="2020-08-13T16:57:09.883" v="170" actId="47"/>
        <pc:sldMkLst>
          <pc:docMk/>
          <pc:sldMk cId="902556862" sldId="3308"/>
        </pc:sldMkLst>
      </pc:sldChg>
      <pc:sldChg chg="del">
        <pc:chgData name="Robert Hokin" userId="716caab2-0991-4278-8ec6-0588b66ef10d" providerId="ADAL" clId="{3136ABB0-5E07-4FDA-BC98-31E67987D5C7}" dt="2020-08-13T16:57:11.092" v="173" actId="47"/>
        <pc:sldMkLst>
          <pc:docMk/>
          <pc:sldMk cId="1685489392" sldId="3309"/>
        </pc:sldMkLst>
      </pc:sldChg>
      <pc:sldChg chg="del">
        <pc:chgData name="Robert Hokin" userId="716caab2-0991-4278-8ec6-0588b66ef10d" providerId="ADAL" clId="{3136ABB0-5E07-4FDA-BC98-31E67987D5C7}" dt="2020-08-13T16:57:11.225" v="176" actId="47"/>
        <pc:sldMkLst>
          <pc:docMk/>
          <pc:sldMk cId="2978633580" sldId="3310"/>
        </pc:sldMkLst>
      </pc:sldChg>
      <pc:sldChg chg="del">
        <pc:chgData name="Robert Hokin" userId="716caab2-0991-4278-8ec6-0588b66ef10d" providerId="ADAL" clId="{3136ABB0-5E07-4FDA-BC98-31E67987D5C7}" dt="2020-08-13T16:54:17.196" v="7" actId="47"/>
        <pc:sldMkLst>
          <pc:docMk/>
          <pc:sldMk cId="830157308" sldId="3311"/>
        </pc:sldMkLst>
      </pc:sldChg>
      <pc:sldChg chg="del">
        <pc:chgData name="Robert Hokin" userId="716caab2-0991-4278-8ec6-0588b66ef10d" providerId="ADAL" clId="{3136ABB0-5E07-4FDA-BC98-31E67987D5C7}" dt="2020-08-13T16:55:09.545" v="50" actId="47"/>
        <pc:sldMkLst>
          <pc:docMk/>
          <pc:sldMk cId="0" sldId="3312"/>
        </pc:sldMkLst>
      </pc:sldChg>
      <pc:sldChg chg="del">
        <pc:chgData name="Robert Hokin" userId="716caab2-0991-4278-8ec6-0588b66ef10d" providerId="ADAL" clId="{3136ABB0-5E07-4FDA-BC98-31E67987D5C7}" dt="2020-08-13T16:55:09.839" v="51" actId="47"/>
        <pc:sldMkLst>
          <pc:docMk/>
          <pc:sldMk cId="1416218131" sldId="3313"/>
        </pc:sldMkLst>
      </pc:sldChg>
      <pc:sldChg chg="del">
        <pc:chgData name="Robert Hokin" userId="716caab2-0991-4278-8ec6-0588b66ef10d" providerId="ADAL" clId="{3136ABB0-5E07-4FDA-BC98-31E67987D5C7}" dt="2020-08-13T16:55:10.058" v="52" actId="47"/>
        <pc:sldMkLst>
          <pc:docMk/>
          <pc:sldMk cId="990920120" sldId="3314"/>
        </pc:sldMkLst>
      </pc:sldChg>
      <pc:sldChg chg="del">
        <pc:chgData name="Robert Hokin" userId="716caab2-0991-4278-8ec6-0588b66ef10d" providerId="ADAL" clId="{3136ABB0-5E07-4FDA-BC98-31E67987D5C7}" dt="2020-08-13T16:55:10.265" v="53" actId="47"/>
        <pc:sldMkLst>
          <pc:docMk/>
          <pc:sldMk cId="0" sldId="3315"/>
        </pc:sldMkLst>
      </pc:sldChg>
      <pc:sldChg chg="del">
        <pc:chgData name="Robert Hokin" userId="716caab2-0991-4278-8ec6-0588b66ef10d" providerId="ADAL" clId="{3136ABB0-5E07-4FDA-BC98-31E67987D5C7}" dt="2020-08-13T16:55:10.710" v="55" actId="47"/>
        <pc:sldMkLst>
          <pc:docMk/>
          <pc:sldMk cId="0" sldId="3316"/>
        </pc:sldMkLst>
      </pc:sldChg>
      <pc:sldChg chg="del">
        <pc:chgData name="Robert Hokin" userId="716caab2-0991-4278-8ec6-0588b66ef10d" providerId="ADAL" clId="{3136ABB0-5E07-4FDA-BC98-31E67987D5C7}" dt="2020-08-13T16:55:10.950" v="56" actId="47"/>
        <pc:sldMkLst>
          <pc:docMk/>
          <pc:sldMk cId="2504469077" sldId="3317"/>
        </pc:sldMkLst>
      </pc:sldChg>
      <pc:sldChg chg="del">
        <pc:chgData name="Robert Hokin" userId="716caab2-0991-4278-8ec6-0588b66ef10d" providerId="ADAL" clId="{3136ABB0-5E07-4FDA-BC98-31E67987D5C7}" dt="2020-08-13T16:55:11.294" v="57" actId="47"/>
        <pc:sldMkLst>
          <pc:docMk/>
          <pc:sldMk cId="3389529331" sldId="3318"/>
        </pc:sldMkLst>
      </pc:sldChg>
      <pc:sldChg chg="del">
        <pc:chgData name="Robert Hokin" userId="716caab2-0991-4278-8ec6-0588b66ef10d" providerId="ADAL" clId="{3136ABB0-5E07-4FDA-BC98-31E67987D5C7}" dt="2020-08-13T16:55:11.818" v="58" actId="47"/>
        <pc:sldMkLst>
          <pc:docMk/>
          <pc:sldMk cId="643385290" sldId="3319"/>
        </pc:sldMkLst>
      </pc:sldChg>
      <pc:sldChg chg="del">
        <pc:chgData name="Robert Hokin" userId="716caab2-0991-4278-8ec6-0588b66ef10d" providerId="ADAL" clId="{3136ABB0-5E07-4FDA-BC98-31E67987D5C7}" dt="2020-08-13T16:55:12.250" v="59" actId="47"/>
        <pc:sldMkLst>
          <pc:docMk/>
          <pc:sldMk cId="0" sldId="3320"/>
        </pc:sldMkLst>
      </pc:sldChg>
      <pc:sldChg chg="del">
        <pc:chgData name="Robert Hokin" userId="716caab2-0991-4278-8ec6-0588b66ef10d" providerId="ADAL" clId="{3136ABB0-5E07-4FDA-BC98-31E67987D5C7}" dt="2020-08-13T16:56:31.364" v="98" actId="47"/>
        <pc:sldMkLst>
          <pc:docMk/>
          <pc:sldMk cId="60537956" sldId="3321"/>
        </pc:sldMkLst>
      </pc:sldChg>
      <pc:sldChg chg="del">
        <pc:chgData name="Robert Hokin" userId="716caab2-0991-4278-8ec6-0588b66ef10d" providerId="ADAL" clId="{3136ABB0-5E07-4FDA-BC98-31E67987D5C7}" dt="2020-08-13T16:56:31.953" v="99" actId="47"/>
        <pc:sldMkLst>
          <pc:docMk/>
          <pc:sldMk cId="3339567447" sldId="3322"/>
        </pc:sldMkLst>
      </pc:sldChg>
      <pc:sldChg chg="del">
        <pc:chgData name="Robert Hokin" userId="716caab2-0991-4278-8ec6-0588b66ef10d" providerId="ADAL" clId="{3136ABB0-5E07-4FDA-BC98-31E67987D5C7}" dt="2020-08-13T16:56:32.364" v="100" actId="47"/>
        <pc:sldMkLst>
          <pc:docMk/>
          <pc:sldMk cId="1201428729" sldId="3323"/>
        </pc:sldMkLst>
      </pc:sldChg>
      <pc:sldChg chg="del">
        <pc:chgData name="Robert Hokin" userId="716caab2-0991-4278-8ec6-0588b66ef10d" providerId="ADAL" clId="{3136ABB0-5E07-4FDA-BC98-31E67987D5C7}" dt="2020-08-13T16:56:32.728" v="101" actId="47"/>
        <pc:sldMkLst>
          <pc:docMk/>
          <pc:sldMk cId="4198760306" sldId="3324"/>
        </pc:sldMkLst>
      </pc:sldChg>
      <pc:sldChg chg="del">
        <pc:chgData name="Robert Hokin" userId="716caab2-0991-4278-8ec6-0588b66ef10d" providerId="ADAL" clId="{3136ABB0-5E07-4FDA-BC98-31E67987D5C7}" dt="2020-08-13T16:56:33.124" v="102" actId="47"/>
        <pc:sldMkLst>
          <pc:docMk/>
          <pc:sldMk cId="324689030" sldId="3325"/>
        </pc:sldMkLst>
      </pc:sldChg>
      <pc:sldChg chg="del">
        <pc:chgData name="Robert Hokin" userId="716caab2-0991-4278-8ec6-0588b66ef10d" providerId="ADAL" clId="{3136ABB0-5E07-4FDA-BC98-31E67987D5C7}" dt="2020-08-13T16:56:33.520" v="103" actId="47"/>
        <pc:sldMkLst>
          <pc:docMk/>
          <pc:sldMk cId="791887837" sldId="3326"/>
        </pc:sldMkLst>
      </pc:sldChg>
      <pc:sldChg chg="del">
        <pc:chgData name="Robert Hokin" userId="716caab2-0991-4278-8ec6-0588b66ef10d" providerId="ADAL" clId="{3136ABB0-5E07-4FDA-BC98-31E67987D5C7}" dt="2020-08-13T16:56:34.021" v="104" actId="47"/>
        <pc:sldMkLst>
          <pc:docMk/>
          <pc:sldMk cId="3025849016" sldId="3327"/>
        </pc:sldMkLst>
      </pc:sldChg>
      <pc:sldChg chg="del">
        <pc:chgData name="Robert Hokin" userId="716caab2-0991-4278-8ec6-0588b66ef10d" providerId="ADAL" clId="{3136ABB0-5E07-4FDA-BC98-31E67987D5C7}" dt="2020-08-13T16:56:34.434" v="105" actId="47"/>
        <pc:sldMkLst>
          <pc:docMk/>
          <pc:sldMk cId="9612680" sldId="3328"/>
        </pc:sldMkLst>
      </pc:sldChg>
      <pc:sldChg chg="del">
        <pc:chgData name="Robert Hokin" userId="716caab2-0991-4278-8ec6-0588b66ef10d" providerId="ADAL" clId="{3136ABB0-5E07-4FDA-BC98-31E67987D5C7}" dt="2020-08-13T16:56:34.714" v="106" actId="47"/>
        <pc:sldMkLst>
          <pc:docMk/>
          <pc:sldMk cId="2205051329" sldId="3329"/>
        </pc:sldMkLst>
      </pc:sldChg>
      <pc:sldChg chg="del">
        <pc:chgData name="Robert Hokin" userId="716caab2-0991-4278-8ec6-0588b66ef10d" providerId="ADAL" clId="{3136ABB0-5E07-4FDA-BC98-31E67987D5C7}" dt="2020-08-13T16:56:37.428" v="107" actId="47"/>
        <pc:sldMkLst>
          <pc:docMk/>
          <pc:sldMk cId="2210572551" sldId="3330"/>
        </pc:sldMkLst>
      </pc:sldChg>
      <pc:sldChg chg="del">
        <pc:chgData name="Robert Hokin" userId="716caab2-0991-4278-8ec6-0588b66ef10d" providerId="ADAL" clId="{3136ABB0-5E07-4FDA-BC98-31E67987D5C7}" dt="2020-08-13T16:57:12.763" v="180" actId="47"/>
        <pc:sldMkLst>
          <pc:docMk/>
          <pc:sldMk cId="1124067591" sldId="3332"/>
        </pc:sldMkLst>
      </pc:sldChg>
      <pc:sldChg chg="del">
        <pc:chgData name="Robert Hokin" userId="716caab2-0991-4278-8ec6-0588b66ef10d" providerId="ADAL" clId="{3136ABB0-5E07-4FDA-BC98-31E67987D5C7}" dt="2020-08-13T16:57:11.492" v="178" actId="47"/>
        <pc:sldMkLst>
          <pc:docMk/>
          <pc:sldMk cId="1404370998" sldId="3333"/>
        </pc:sldMkLst>
      </pc:sldChg>
      <pc:sldChg chg="delSp add del mod">
        <pc:chgData name="Robert Hokin" userId="716caab2-0991-4278-8ec6-0588b66ef10d" providerId="ADAL" clId="{3136ABB0-5E07-4FDA-BC98-31E67987D5C7}" dt="2020-08-13T16:58:40.686" v="203" actId="47"/>
        <pc:sldMkLst>
          <pc:docMk/>
          <pc:sldMk cId="1385296870" sldId="3334"/>
        </pc:sldMkLst>
        <pc:picChg chg="del">
          <ac:chgData name="Robert Hokin" userId="716caab2-0991-4278-8ec6-0588b66ef10d" providerId="ADAL" clId="{3136ABB0-5E07-4FDA-BC98-31E67987D5C7}" dt="2020-08-13T16:58:19.812" v="202" actId="478"/>
          <ac:picMkLst>
            <pc:docMk/>
            <pc:sldMk cId="1385296870" sldId="3334"/>
            <ac:picMk id="6" creationId="{121BFF39-996F-9D44-9B0E-1E80AA3ABDBE}"/>
          </ac:picMkLst>
        </pc:picChg>
      </pc:sldChg>
      <pc:sldChg chg="del">
        <pc:chgData name="Robert Hokin" userId="716caab2-0991-4278-8ec6-0588b66ef10d" providerId="ADAL" clId="{3136ABB0-5E07-4FDA-BC98-31E67987D5C7}" dt="2020-08-13T16:57:40.389" v="194" actId="47"/>
        <pc:sldMkLst>
          <pc:docMk/>
          <pc:sldMk cId="4171133964" sldId="3335"/>
        </pc:sldMkLst>
      </pc:sldChg>
      <pc:sldChg chg="del">
        <pc:chgData name="Robert Hokin" userId="716caab2-0991-4278-8ec6-0588b66ef10d" providerId="ADAL" clId="{3136ABB0-5E07-4FDA-BC98-31E67987D5C7}" dt="2020-08-13T16:57:45.917" v="195" actId="47"/>
        <pc:sldMkLst>
          <pc:docMk/>
          <pc:sldMk cId="190821951" sldId="3336"/>
        </pc:sldMkLst>
      </pc:sldChg>
      <pc:sldChg chg="del">
        <pc:chgData name="Robert Hokin" userId="716caab2-0991-4278-8ec6-0588b66ef10d" providerId="ADAL" clId="{3136ABB0-5E07-4FDA-BC98-31E67987D5C7}" dt="2020-08-13T16:57:47.533" v="196" actId="47"/>
        <pc:sldMkLst>
          <pc:docMk/>
          <pc:sldMk cId="1545723172" sldId="3337"/>
        </pc:sldMkLst>
      </pc:sldChg>
      <pc:sldChg chg="del">
        <pc:chgData name="Robert Hokin" userId="716caab2-0991-4278-8ec6-0588b66ef10d" providerId="ADAL" clId="{3136ABB0-5E07-4FDA-BC98-31E67987D5C7}" dt="2020-08-13T16:55:13.136" v="62" actId="47"/>
        <pc:sldMkLst>
          <pc:docMk/>
          <pc:sldMk cId="2550344210" sldId="3361"/>
        </pc:sldMkLst>
      </pc:sldChg>
      <pc:sldChg chg="del">
        <pc:chgData name="Robert Hokin" userId="716caab2-0991-4278-8ec6-0588b66ef10d" providerId="ADAL" clId="{3136ABB0-5E07-4FDA-BC98-31E67987D5C7}" dt="2020-08-13T16:55:14.581" v="69" actId="47"/>
        <pc:sldMkLst>
          <pc:docMk/>
          <pc:sldMk cId="2733556127" sldId="3362"/>
        </pc:sldMkLst>
      </pc:sldChg>
      <pc:sldChg chg="del">
        <pc:chgData name="Robert Hokin" userId="716caab2-0991-4278-8ec6-0588b66ef10d" providerId="ADAL" clId="{3136ABB0-5E07-4FDA-BC98-31E67987D5C7}" dt="2020-08-13T16:57:20.280" v="188" actId="47"/>
        <pc:sldMkLst>
          <pc:docMk/>
          <pc:sldMk cId="4294063674" sldId="3363"/>
        </pc:sldMkLst>
      </pc:sldChg>
      <pc:sldChg chg="del">
        <pc:chgData name="Robert Hokin" userId="716caab2-0991-4278-8ec6-0588b66ef10d" providerId="ADAL" clId="{3136ABB0-5E07-4FDA-BC98-31E67987D5C7}" dt="2020-08-13T16:57:05.198" v="159" actId="47"/>
        <pc:sldMkLst>
          <pc:docMk/>
          <pc:sldMk cId="3267147927" sldId="3364"/>
        </pc:sldMkLst>
      </pc:sldChg>
      <pc:sldChg chg="del">
        <pc:chgData name="Robert Hokin" userId="716caab2-0991-4278-8ec6-0588b66ef10d" providerId="ADAL" clId="{3136ABB0-5E07-4FDA-BC98-31E67987D5C7}" dt="2020-08-13T16:57:05.658" v="161" actId="47"/>
        <pc:sldMkLst>
          <pc:docMk/>
          <pc:sldMk cId="3011249898" sldId="3365"/>
        </pc:sldMkLst>
      </pc:sldChg>
      <pc:sldChg chg="del">
        <pc:chgData name="Robert Hokin" userId="716caab2-0991-4278-8ec6-0588b66ef10d" providerId="ADAL" clId="{3136ABB0-5E07-4FDA-BC98-31E67987D5C7}" dt="2020-08-13T16:57:05.846" v="162" actId="47"/>
        <pc:sldMkLst>
          <pc:docMk/>
          <pc:sldMk cId="3504637970" sldId="3366"/>
        </pc:sldMkLst>
      </pc:sldChg>
      <pc:sldChg chg="del">
        <pc:chgData name="Robert Hokin" userId="716caab2-0991-4278-8ec6-0588b66ef10d" providerId="ADAL" clId="{3136ABB0-5E07-4FDA-BC98-31E67987D5C7}" dt="2020-08-13T16:57:06.059" v="163" actId="47"/>
        <pc:sldMkLst>
          <pc:docMk/>
          <pc:sldMk cId="4198051051" sldId="3367"/>
        </pc:sldMkLst>
      </pc:sldChg>
      <pc:sldChg chg="del">
        <pc:chgData name="Robert Hokin" userId="716caab2-0991-4278-8ec6-0588b66ef10d" providerId="ADAL" clId="{3136ABB0-5E07-4FDA-BC98-31E67987D5C7}" dt="2020-08-13T16:57:06.235" v="164" actId="47"/>
        <pc:sldMkLst>
          <pc:docMk/>
          <pc:sldMk cId="1061371516" sldId="3368"/>
        </pc:sldMkLst>
      </pc:sldChg>
      <pc:sldChg chg="del">
        <pc:chgData name="Robert Hokin" userId="716caab2-0991-4278-8ec6-0588b66ef10d" providerId="ADAL" clId="{3136ABB0-5E07-4FDA-BC98-31E67987D5C7}" dt="2020-08-13T16:57:06.439" v="165" actId="47"/>
        <pc:sldMkLst>
          <pc:docMk/>
          <pc:sldMk cId="4040957094" sldId="3369"/>
        </pc:sldMkLst>
      </pc:sldChg>
      <pc:sldChg chg="del">
        <pc:chgData name="Robert Hokin" userId="716caab2-0991-4278-8ec6-0588b66ef10d" providerId="ADAL" clId="{3136ABB0-5E07-4FDA-BC98-31E67987D5C7}" dt="2020-08-13T16:57:06.626" v="166" actId="47"/>
        <pc:sldMkLst>
          <pc:docMk/>
          <pc:sldMk cId="2581022571" sldId="3370"/>
        </pc:sldMkLst>
      </pc:sldChg>
      <pc:sldChg chg="del">
        <pc:chgData name="Robert Hokin" userId="716caab2-0991-4278-8ec6-0588b66ef10d" providerId="ADAL" clId="{3136ABB0-5E07-4FDA-BC98-31E67987D5C7}" dt="2020-08-13T16:56:55.082" v="149" actId="47"/>
        <pc:sldMkLst>
          <pc:docMk/>
          <pc:sldMk cId="1173306747" sldId="3371"/>
        </pc:sldMkLst>
      </pc:sldChg>
      <pc:sldChg chg="del">
        <pc:chgData name="Robert Hokin" userId="716caab2-0991-4278-8ec6-0588b66ef10d" providerId="ADAL" clId="{3136ABB0-5E07-4FDA-BC98-31E67987D5C7}" dt="2020-08-13T16:56:56.099" v="151" actId="47"/>
        <pc:sldMkLst>
          <pc:docMk/>
          <pc:sldMk cId="2958504470" sldId="3372"/>
        </pc:sldMkLst>
      </pc:sldChg>
      <pc:sldChg chg="add del">
        <pc:chgData name="Robert Hokin" userId="716caab2-0991-4278-8ec6-0588b66ef10d" providerId="ADAL" clId="{3136ABB0-5E07-4FDA-BC98-31E67987D5C7}" dt="2020-08-14T08:16:55.169" v="2521" actId="47"/>
        <pc:sldMkLst>
          <pc:docMk/>
          <pc:sldMk cId="4236912315" sldId="3388"/>
        </pc:sldMkLst>
      </pc:sldChg>
      <pc:sldChg chg="add del">
        <pc:chgData name="Robert Hokin" userId="716caab2-0991-4278-8ec6-0588b66ef10d" providerId="ADAL" clId="{3136ABB0-5E07-4FDA-BC98-31E67987D5C7}" dt="2020-08-13T16:55:34.320" v="85" actId="47"/>
        <pc:sldMkLst>
          <pc:docMk/>
          <pc:sldMk cId="3130405505" sldId="3389"/>
        </pc:sldMkLst>
      </pc:sldChg>
      <pc:sldChg chg="add del">
        <pc:chgData name="Robert Hokin" userId="716caab2-0991-4278-8ec6-0588b66ef10d" providerId="ADAL" clId="{3136ABB0-5E07-4FDA-BC98-31E67987D5C7}" dt="2020-08-13T16:55:45.387" v="86" actId="47"/>
        <pc:sldMkLst>
          <pc:docMk/>
          <pc:sldMk cId="4224392132" sldId="3390"/>
        </pc:sldMkLst>
      </pc:sldChg>
      <pc:sldChg chg="addSp delSp modSp add del mod">
        <pc:chgData name="Robert Hokin" userId="716caab2-0991-4278-8ec6-0588b66ef10d" providerId="ADAL" clId="{3136ABB0-5E07-4FDA-BC98-31E67987D5C7}" dt="2020-08-19T14:11:09.422" v="4475" actId="47"/>
        <pc:sldMkLst>
          <pc:docMk/>
          <pc:sldMk cId="2410484476" sldId="3391"/>
        </pc:sldMkLst>
        <pc:spChg chg="del">
          <ac:chgData name="Robert Hokin" userId="716caab2-0991-4278-8ec6-0588b66ef10d" providerId="ADAL" clId="{3136ABB0-5E07-4FDA-BC98-31E67987D5C7}" dt="2020-08-14T08:13:17.413" v="2225" actId="478"/>
          <ac:spMkLst>
            <pc:docMk/>
            <pc:sldMk cId="2410484476" sldId="3391"/>
            <ac:spMk id="2" creationId="{03AC501E-9820-48AD-9594-F5DA68AB7B19}"/>
          </ac:spMkLst>
        </pc:spChg>
        <pc:spChg chg="del">
          <ac:chgData name="Robert Hokin" userId="716caab2-0991-4278-8ec6-0588b66ef10d" providerId="ADAL" clId="{3136ABB0-5E07-4FDA-BC98-31E67987D5C7}" dt="2020-08-14T08:12:16.139" v="2176" actId="478"/>
          <ac:spMkLst>
            <pc:docMk/>
            <pc:sldMk cId="2410484476" sldId="3391"/>
            <ac:spMk id="3" creationId="{2B439F63-BEFA-4154-90EC-926F4F3C0065}"/>
          </ac:spMkLst>
        </pc:spChg>
        <pc:spChg chg="add del mod">
          <ac:chgData name="Robert Hokin" userId="716caab2-0991-4278-8ec6-0588b66ef10d" providerId="ADAL" clId="{3136ABB0-5E07-4FDA-BC98-31E67987D5C7}" dt="2020-08-19T14:09:57.115" v="4426" actId="478"/>
          <ac:spMkLst>
            <pc:docMk/>
            <pc:sldMk cId="2410484476" sldId="3391"/>
            <ac:spMk id="3" creationId="{F5EACF97-F9AE-445C-97A3-18F987254B17}"/>
          </ac:spMkLst>
        </pc:spChg>
        <pc:spChg chg="del mod">
          <ac:chgData name="Robert Hokin" userId="716caab2-0991-4278-8ec6-0588b66ef10d" providerId="ADAL" clId="{3136ABB0-5E07-4FDA-BC98-31E67987D5C7}" dt="2020-08-19T14:00:28" v="4188" actId="478"/>
          <ac:spMkLst>
            <pc:docMk/>
            <pc:sldMk cId="2410484476" sldId="3391"/>
            <ac:spMk id="4" creationId="{DF6570E9-3775-40F5-9DD6-3783A76DF272}"/>
          </ac:spMkLst>
        </pc:spChg>
        <pc:spChg chg="add mod">
          <ac:chgData name="Robert Hokin" userId="716caab2-0991-4278-8ec6-0588b66ef10d" providerId="ADAL" clId="{3136ABB0-5E07-4FDA-BC98-31E67987D5C7}" dt="2020-08-19T14:10:25.341" v="4471" actId="20577"/>
          <ac:spMkLst>
            <pc:docMk/>
            <pc:sldMk cId="2410484476" sldId="3391"/>
            <ac:spMk id="5" creationId="{67C17E71-7CCB-48BE-A330-54E2D85B3474}"/>
          </ac:spMkLst>
        </pc:spChg>
        <pc:spChg chg="del mod">
          <ac:chgData name="Robert Hokin" userId="716caab2-0991-4278-8ec6-0588b66ef10d" providerId="ADAL" clId="{3136ABB0-5E07-4FDA-BC98-31E67987D5C7}" dt="2020-08-19T13:42:04.777" v="3533" actId="478"/>
          <ac:spMkLst>
            <pc:docMk/>
            <pc:sldMk cId="2410484476" sldId="3391"/>
            <ac:spMk id="6" creationId="{252CEC57-1CD7-4C9A-A250-12A4627EF0E8}"/>
          </ac:spMkLst>
        </pc:spChg>
        <pc:spChg chg="del">
          <ac:chgData name="Robert Hokin" userId="716caab2-0991-4278-8ec6-0588b66ef10d" providerId="ADAL" clId="{3136ABB0-5E07-4FDA-BC98-31E67987D5C7}" dt="2020-08-14T08:14:31.669" v="2391" actId="478"/>
          <ac:spMkLst>
            <pc:docMk/>
            <pc:sldMk cId="2410484476" sldId="3391"/>
            <ac:spMk id="7" creationId="{4584E80B-8542-4164-941B-FF189472E490}"/>
          </ac:spMkLst>
        </pc:spChg>
        <pc:spChg chg="add">
          <ac:chgData name="Robert Hokin" userId="716caab2-0991-4278-8ec6-0588b66ef10d" providerId="ADAL" clId="{3136ABB0-5E07-4FDA-BC98-31E67987D5C7}" dt="2020-08-19T14:10:32.868" v="4472" actId="22"/>
          <ac:spMkLst>
            <pc:docMk/>
            <pc:sldMk cId="2410484476" sldId="3391"/>
            <ac:spMk id="7" creationId="{9858FF5F-6DC2-4891-9248-100FCC073935}"/>
          </ac:spMkLst>
        </pc:spChg>
        <pc:spChg chg="del">
          <ac:chgData name="Robert Hokin" userId="716caab2-0991-4278-8ec6-0588b66ef10d" providerId="ADAL" clId="{3136ABB0-5E07-4FDA-BC98-31E67987D5C7}" dt="2020-08-14T08:14:37.780" v="2392" actId="478"/>
          <ac:spMkLst>
            <pc:docMk/>
            <pc:sldMk cId="2410484476" sldId="3391"/>
            <ac:spMk id="8" creationId="{5794BB6E-8C7C-4C31-B008-5CD0124DAF95}"/>
          </ac:spMkLst>
        </pc:spChg>
        <pc:spChg chg="add">
          <ac:chgData name="Robert Hokin" userId="716caab2-0991-4278-8ec6-0588b66ef10d" providerId="ADAL" clId="{3136ABB0-5E07-4FDA-BC98-31E67987D5C7}" dt="2020-08-19T14:10:44.935" v="4473" actId="22"/>
          <ac:spMkLst>
            <pc:docMk/>
            <pc:sldMk cId="2410484476" sldId="3391"/>
            <ac:spMk id="8" creationId="{9E442A91-6269-46AB-9CFF-FE1956DBEAEB}"/>
          </ac:spMkLst>
        </pc:spChg>
        <pc:spChg chg="del mod">
          <ac:chgData name="Robert Hokin" userId="716caab2-0991-4278-8ec6-0588b66ef10d" providerId="ADAL" clId="{3136ABB0-5E07-4FDA-BC98-31E67987D5C7}" dt="2020-08-19T13:42:11.119" v="3535" actId="478"/>
          <ac:spMkLst>
            <pc:docMk/>
            <pc:sldMk cId="2410484476" sldId="3391"/>
            <ac:spMk id="10" creationId="{7431B4F9-368F-41D4-9605-D88ED15DEECB}"/>
          </ac:spMkLst>
        </pc:spChg>
        <pc:spChg chg="add del mod">
          <ac:chgData name="Robert Hokin" userId="716caab2-0991-4278-8ec6-0588b66ef10d" providerId="ADAL" clId="{3136ABB0-5E07-4FDA-BC98-31E67987D5C7}" dt="2020-08-19T13:42:13.821" v="3536" actId="478"/>
          <ac:spMkLst>
            <pc:docMk/>
            <pc:sldMk cId="2410484476" sldId="3391"/>
            <ac:spMk id="16" creationId="{C4B2650E-F4CB-4571-8C36-4493F24F96FE}"/>
          </ac:spMkLst>
        </pc:spChg>
        <pc:spChg chg="add">
          <ac:chgData name="Robert Hokin" userId="716caab2-0991-4278-8ec6-0588b66ef10d" providerId="ADAL" clId="{3136ABB0-5E07-4FDA-BC98-31E67987D5C7}" dt="2020-08-19T14:11:00.162" v="4474" actId="22"/>
          <ac:spMkLst>
            <pc:docMk/>
            <pc:sldMk cId="2410484476" sldId="3391"/>
            <ac:spMk id="17" creationId="{1C5F5C51-5CC0-4B41-8205-8E0E1DBC364B}"/>
          </ac:spMkLst>
        </pc:spChg>
        <pc:picChg chg="del">
          <ac:chgData name="Robert Hokin" userId="716caab2-0991-4278-8ec6-0588b66ef10d" providerId="ADAL" clId="{3136ABB0-5E07-4FDA-BC98-31E67987D5C7}" dt="2020-08-14T08:12:07.148" v="2175" actId="478"/>
          <ac:picMkLst>
            <pc:docMk/>
            <pc:sldMk cId="2410484476" sldId="3391"/>
            <ac:picMk id="5" creationId="{637F5A8F-B974-461B-81F4-1BF946078ECC}"/>
          </ac:picMkLst>
        </pc:picChg>
        <pc:picChg chg="del mod">
          <ac:chgData name="Robert Hokin" userId="716caab2-0991-4278-8ec6-0588b66ef10d" providerId="ADAL" clId="{3136ABB0-5E07-4FDA-BC98-31E67987D5C7}" dt="2020-08-19T14:00:30.923" v="4189" actId="478"/>
          <ac:picMkLst>
            <pc:docMk/>
            <pc:sldMk cId="2410484476" sldId="3391"/>
            <ac:picMk id="9" creationId="{9E6D1408-BDEE-46DC-9162-D341EBA8A564}"/>
          </ac:picMkLst>
        </pc:picChg>
        <pc:picChg chg="add del mod">
          <ac:chgData name="Robert Hokin" userId="716caab2-0991-4278-8ec6-0588b66ef10d" providerId="ADAL" clId="{3136ABB0-5E07-4FDA-BC98-31E67987D5C7}" dt="2020-08-19T13:42:07.907" v="3534" actId="478"/>
          <ac:picMkLst>
            <pc:docMk/>
            <pc:sldMk cId="2410484476" sldId="3391"/>
            <ac:picMk id="12" creationId="{9D8B238B-10F0-49B1-B673-3310C2C2C42B}"/>
          </ac:picMkLst>
        </pc:picChg>
        <pc:picChg chg="add del">
          <ac:chgData name="Robert Hokin" userId="716caab2-0991-4278-8ec6-0588b66ef10d" providerId="ADAL" clId="{3136ABB0-5E07-4FDA-BC98-31E67987D5C7}" dt="2020-08-14T08:14:19.603" v="2361" actId="478"/>
          <ac:picMkLst>
            <pc:docMk/>
            <pc:sldMk cId="2410484476" sldId="3391"/>
            <ac:picMk id="14" creationId="{19DA9878-CDBD-4DB9-B138-963D49FF0145}"/>
          </ac:picMkLst>
        </pc:picChg>
      </pc:sldChg>
      <pc:sldChg chg="addSp delSp modSp add mod modAnim">
        <pc:chgData name="Robert Hokin" userId="716caab2-0991-4278-8ec6-0588b66ef10d" providerId="ADAL" clId="{3136ABB0-5E07-4FDA-BC98-31E67987D5C7}" dt="2020-08-19T18:09:49.747" v="9964"/>
        <pc:sldMkLst>
          <pc:docMk/>
          <pc:sldMk cId="2782010711" sldId="3392"/>
        </pc:sldMkLst>
        <pc:spChg chg="add mod">
          <ac:chgData name="Robert Hokin" userId="716caab2-0991-4278-8ec6-0588b66ef10d" providerId="ADAL" clId="{3136ABB0-5E07-4FDA-BC98-31E67987D5C7}" dt="2020-08-19T18:09:49.153" v="9963" actId="1037"/>
          <ac:spMkLst>
            <pc:docMk/>
            <pc:sldMk cId="2782010711" sldId="3392"/>
            <ac:spMk id="5" creationId="{0EA5FC00-4B55-4DEF-A924-B160533BBE7F}"/>
          </ac:spMkLst>
        </pc:spChg>
        <pc:spChg chg="add mod">
          <ac:chgData name="Robert Hokin" userId="716caab2-0991-4278-8ec6-0588b66ef10d" providerId="ADAL" clId="{3136ABB0-5E07-4FDA-BC98-31E67987D5C7}" dt="2020-08-19T18:09:49.153" v="9963" actId="1037"/>
          <ac:spMkLst>
            <pc:docMk/>
            <pc:sldMk cId="2782010711" sldId="3392"/>
            <ac:spMk id="6" creationId="{1F0FB56C-98B0-47A9-911C-00A36BD9D4A1}"/>
          </ac:spMkLst>
        </pc:spChg>
        <pc:spChg chg="add mod">
          <ac:chgData name="Robert Hokin" userId="716caab2-0991-4278-8ec6-0588b66ef10d" providerId="ADAL" clId="{3136ABB0-5E07-4FDA-BC98-31E67987D5C7}" dt="2020-08-19T18:09:49.153" v="9963" actId="1037"/>
          <ac:spMkLst>
            <pc:docMk/>
            <pc:sldMk cId="2782010711" sldId="3392"/>
            <ac:spMk id="7" creationId="{B86BCD8E-C170-4CB9-8A5A-77ECEB7810FA}"/>
          </ac:spMkLst>
        </pc:spChg>
        <pc:spChg chg="add mod">
          <ac:chgData name="Robert Hokin" userId="716caab2-0991-4278-8ec6-0588b66ef10d" providerId="ADAL" clId="{3136ABB0-5E07-4FDA-BC98-31E67987D5C7}" dt="2020-08-19T18:09:49.153" v="9963" actId="1037"/>
          <ac:spMkLst>
            <pc:docMk/>
            <pc:sldMk cId="2782010711" sldId="3392"/>
            <ac:spMk id="9" creationId="{563CF410-470B-4975-B5CD-359C93CB443C}"/>
          </ac:spMkLst>
        </pc:spChg>
        <pc:spChg chg="add mod">
          <ac:chgData name="Robert Hokin" userId="716caab2-0991-4278-8ec6-0588b66ef10d" providerId="ADAL" clId="{3136ABB0-5E07-4FDA-BC98-31E67987D5C7}" dt="2020-08-19T18:09:49.153" v="9963" actId="1037"/>
          <ac:spMkLst>
            <pc:docMk/>
            <pc:sldMk cId="2782010711" sldId="3392"/>
            <ac:spMk id="11" creationId="{725E25C6-7440-44A2-B90B-830CD8486F30}"/>
          </ac:spMkLst>
        </pc:spChg>
        <pc:spChg chg="add mod">
          <ac:chgData name="Robert Hokin" userId="716caab2-0991-4278-8ec6-0588b66ef10d" providerId="ADAL" clId="{3136ABB0-5E07-4FDA-BC98-31E67987D5C7}" dt="2020-08-19T18:09:49.153" v="9963" actId="1037"/>
          <ac:spMkLst>
            <pc:docMk/>
            <pc:sldMk cId="2782010711" sldId="3392"/>
            <ac:spMk id="12" creationId="{78DF3EB0-6F28-40EC-87F4-07A11EA44765}"/>
          </ac:spMkLst>
        </pc:spChg>
        <pc:spChg chg="add mod">
          <ac:chgData name="Robert Hokin" userId="716caab2-0991-4278-8ec6-0588b66ef10d" providerId="ADAL" clId="{3136ABB0-5E07-4FDA-BC98-31E67987D5C7}" dt="2020-08-19T18:09:49.153" v="9963" actId="1037"/>
          <ac:spMkLst>
            <pc:docMk/>
            <pc:sldMk cId="2782010711" sldId="3392"/>
            <ac:spMk id="14" creationId="{ED1AFFE6-D07A-492D-8402-6A816D50BA3C}"/>
          </ac:spMkLst>
        </pc:spChg>
        <pc:spChg chg="add mod">
          <ac:chgData name="Robert Hokin" userId="716caab2-0991-4278-8ec6-0588b66ef10d" providerId="ADAL" clId="{3136ABB0-5E07-4FDA-BC98-31E67987D5C7}" dt="2020-08-19T18:09:49.153" v="9963" actId="1037"/>
          <ac:spMkLst>
            <pc:docMk/>
            <pc:sldMk cId="2782010711" sldId="3392"/>
            <ac:spMk id="17" creationId="{8B27CB6E-754D-457D-9F1C-51192FD8DB1B}"/>
          </ac:spMkLst>
        </pc:spChg>
        <pc:spChg chg="mod">
          <ac:chgData name="Robert Hokin" userId="716caab2-0991-4278-8ec6-0588b66ef10d" providerId="ADAL" clId="{3136ABB0-5E07-4FDA-BC98-31E67987D5C7}" dt="2020-08-19T15:33:10.597" v="5760" actId="1076"/>
          <ac:spMkLst>
            <pc:docMk/>
            <pc:sldMk cId="2782010711" sldId="3392"/>
            <ac:spMk id="33" creationId="{A2FE61D5-F22B-40FB-863E-A0AAE7A44B07}"/>
          </ac:spMkLst>
        </pc:spChg>
        <pc:spChg chg="add del">
          <ac:chgData name="Robert Hokin" userId="716caab2-0991-4278-8ec6-0588b66ef10d" providerId="ADAL" clId="{3136ABB0-5E07-4FDA-BC98-31E67987D5C7}" dt="2020-08-19T15:28:42.309" v="5457" actId="22"/>
          <ac:spMkLst>
            <pc:docMk/>
            <pc:sldMk cId="2782010711" sldId="3392"/>
            <ac:spMk id="37" creationId="{9767CF80-A714-457D-902D-2525DB02915E}"/>
          </ac:spMkLst>
        </pc:spChg>
        <pc:spChg chg="add mod">
          <ac:chgData name="Robert Hokin" userId="716caab2-0991-4278-8ec6-0588b66ef10d" providerId="ADAL" clId="{3136ABB0-5E07-4FDA-BC98-31E67987D5C7}" dt="2020-08-19T18:09:49.153" v="9963" actId="1037"/>
          <ac:spMkLst>
            <pc:docMk/>
            <pc:sldMk cId="2782010711" sldId="3392"/>
            <ac:spMk id="40" creationId="{A2099138-51A8-4E9A-816F-8695CA1A305B}"/>
          </ac:spMkLst>
        </pc:spChg>
        <pc:spChg chg="add mod">
          <ac:chgData name="Robert Hokin" userId="716caab2-0991-4278-8ec6-0588b66ef10d" providerId="ADAL" clId="{3136ABB0-5E07-4FDA-BC98-31E67987D5C7}" dt="2020-08-19T18:09:49.153" v="9963" actId="1037"/>
          <ac:spMkLst>
            <pc:docMk/>
            <pc:sldMk cId="2782010711" sldId="3392"/>
            <ac:spMk id="43" creationId="{72CD8122-1041-46EF-A3F0-E46E6F5E2808}"/>
          </ac:spMkLst>
        </pc:spChg>
        <pc:picChg chg="add del">
          <ac:chgData name="Robert Hokin" userId="716caab2-0991-4278-8ec6-0588b66ef10d" providerId="ADAL" clId="{3136ABB0-5E07-4FDA-BC98-31E67987D5C7}" dt="2020-08-19T12:19:39.602" v="3236" actId="478"/>
          <ac:picMkLst>
            <pc:docMk/>
            <pc:sldMk cId="2782010711" sldId="3392"/>
            <ac:picMk id="3" creationId="{DA5F2D57-043D-4E62-AF76-28404DEC3A31}"/>
          </ac:picMkLst>
        </pc:picChg>
        <pc:picChg chg="add">
          <ac:chgData name="Robert Hokin" userId="716caab2-0991-4278-8ec6-0588b66ef10d" providerId="ADAL" clId="{3136ABB0-5E07-4FDA-BC98-31E67987D5C7}" dt="2020-08-19T12:19:40.147" v="3237" actId="22"/>
          <ac:picMkLst>
            <pc:docMk/>
            <pc:sldMk cId="2782010711" sldId="3392"/>
            <ac:picMk id="4" creationId="{1F74CB53-2CF3-4776-8CC9-CD2E7F55B84A}"/>
          </ac:picMkLst>
        </pc:picChg>
        <pc:picChg chg="add mod">
          <ac:chgData name="Robert Hokin" userId="716caab2-0991-4278-8ec6-0588b66ef10d" providerId="ADAL" clId="{3136ABB0-5E07-4FDA-BC98-31E67987D5C7}" dt="2020-08-19T18:09:49.153" v="9963" actId="1037"/>
          <ac:picMkLst>
            <pc:docMk/>
            <pc:sldMk cId="2782010711" sldId="3392"/>
            <ac:picMk id="13" creationId="{2CC31003-A604-4F6F-BF4B-1A37B149473F}"/>
          </ac:picMkLst>
        </pc:picChg>
        <pc:picChg chg="del">
          <ac:chgData name="Robert Hokin" userId="716caab2-0991-4278-8ec6-0588b66ef10d" providerId="ADAL" clId="{3136ABB0-5E07-4FDA-BC98-31E67987D5C7}" dt="2020-08-19T12:19:04.106" v="3226" actId="478"/>
          <ac:picMkLst>
            <pc:docMk/>
            <pc:sldMk cId="2782010711" sldId="3392"/>
            <ac:picMk id="32" creationId="{CEEDB95C-3388-4A84-AB9F-0CFCF93CC63E}"/>
          </ac:picMkLst>
        </pc:picChg>
        <pc:picChg chg="del">
          <ac:chgData name="Robert Hokin" userId="716caab2-0991-4278-8ec6-0588b66ef10d" providerId="ADAL" clId="{3136ABB0-5E07-4FDA-BC98-31E67987D5C7}" dt="2020-08-19T12:18:25.757" v="3222" actId="478"/>
          <ac:picMkLst>
            <pc:docMk/>
            <pc:sldMk cId="2782010711" sldId="3392"/>
            <ac:picMk id="34" creationId="{B498E43E-5A0D-4539-AEB3-90A409A03EE3}"/>
          </ac:picMkLst>
        </pc:picChg>
        <pc:picChg chg="del">
          <ac:chgData name="Robert Hokin" userId="716caab2-0991-4278-8ec6-0588b66ef10d" providerId="ADAL" clId="{3136ABB0-5E07-4FDA-BC98-31E67987D5C7}" dt="2020-08-19T12:18:25.757" v="3222" actId="478"/>
          <ac:picMkLst>
            <pc:docMk/>
            <pc:sldMk cId="2782010711" sldId="3392"/>
            <ac:picMk id="35" creationId="{5BA106A2-9AD0-41A2-8CC2-A3AB4C31D7B9}"/>
          </ac:picMkLst>
        </pc:picChg>
        <pc:picChg chg="del">
          <ac:chgData name="Robert Hokin" userId="716caab2-0991-4278-8ec6-0588b66ef10d" providerId="ADAL" clId="{3136ABB0-5E07-4FDA-BC98-31E67987D5C7}" dt="2020-08-19T12:18:25.757" v="3222" actId="478"/>
          <ac:picMkLst>
            <pc:docMk/>
            <pc:sldMk cId="2782010711" sldId="3392"/>
            <ac:picMk id="36" creationId="{97CC47B8-4CCB-4D54-9384-A3DEFD787AE1}"/>
          </ac:picMkLst>
        </pc:picChg>
        <pc:picChg chg="add mod">
          <ac:chgData name="Robert Hokin" userId="716caab2-0991-4278-8ec6-0588b66ef10d" providerId="ADAL" clId="{3136ABB0-5E07-4FDA-BC98-31E67987D5C7}" dt="2020-08-19T18:09:49.153" v="9963" actId="1037"/>
          <ac:picMkLst>
            <pc:docMk/>
            <pc:sldMk cId="2782010711" sldId="3392"/>
            <ac:picMk id="28674" creationId="{7C0DF3A7-F093-434C-B423-2E36038E5B83}"/>
          </ac:picMkLst>
        </pc:picChg>
        <pc:picChg chg="add mod">
          <ac:chgData name="Robert Hokin" userId="716caab2-0991-4278-8ec6-0588b66ef10d" providerId="ADAL" clId="{3136ABB0-5E07-4FDA-BC98-31E67987D5C7}" dt="2020-08-19T18:09:49.153" v="9963" actId="1037"/>
          <ac:picMkLst>
            <pc:docMk/>
            <pc:sldMk cId="2782010711" sldId="3392"/>
            <ac:picMk id="28676" creationId="{42947C28-6405-4D0A-A0C5-5BCCB0E90C6B}"/>
          </ac:picMkLst>
        </pc:picChg>
        <pc:picChg chg="add mod">
          <ac:chgData name="Robert Hokin" userId="716caab2-0991-4278-8ec6-0588b66ef10d" providerId="ADAL" clId="{3136ABB0-5E07-4FDA-BC98-31E67987D5C7}" dt="2020-08-19T18:09:49.153" v="9963" actId="1037"/>
          <ac:picMkLst>
            <pc:docMk/>
            <pc:sldMk cId="2782010711" sldId="3392"/>
            <ac:picMk id="28678" creationId="{FC6A0BB1-CFDA-4A96-AA79-ED8BC9211AF4}"/>
          </ac:picMkLst>
        </pc:picChg>
        <pc:picChg chg="add mod">
          <ac:chgData name="Robert Hokin" userId="716caab2-0991-4278-8ec6-0588b66ef10d" providerId="ADAL" clId="{3136ABB0-5E07-4FDA-BC98-31E67987D5C7}" dt="2020-08-19T18:09:49.153" v="9963" actId="1037"/>
          <ac:picMkLst>
            <pc:docMk/>
            <pc:sldMk cId="2782010711" sldId="3392"/>
            <ac:picMk id="28680" creationId="{EC4BF4A5-6A43-4BAA-9C36-D4467A683216}"/>
          </ac:picMkLst>
        </pc:picChg>
        <pc:picChg chg="add del mod">
          <ac:chgData name="Robert Hokin" userId="716caab2-0991-4278-8ec6-0588b66ef10d" providerId="ADAL" clId="{3136ABB0-5E07-4FDA-BC98-31E67987D5C7}" dt="2020-08-19T15:19:24.549" v="5034" actId="478"/>
          <ac:picMkLst>
            <pc:docMk/>
            <pc:sldMk cId="2782010711" sldId="3392"/>
            <ac:picMk id="28682" creationId="{F490F029-8EE7-41D4-972F-5E2906C65975}"/>
          </ac:picMkLst>
        </pc:picChg>
        <pc:picChg chg="add del mod">
          <ac:chgData name="Robert Hokin" userId="716caab2-0991-4278-8ec6-0588b66ef10d" providerId="ADAL" clId="{3136ABB0-5E07-4FDA-BC98-31E67987D5C7}" dt="2020-08-19T15:21:00.372" v="5039" actId="478"/>
          <ac:picMkLst>
            <pc:docMk/>
            <pc:sldMk cId="2782010711" sldId="3392"/>
            <ac:picMk id="28684" creationId="{B123BA71-4246-4444-8627-D1B389F35EA9}"/>
          </ac:picMkLst>
        </pc:picChg>
        <pc:picChg chg="add mod">
          <ac:chgData name="Robert Hokin" userId="716caab2-0991-4278-8ec6-0588b66ef10d" providerId="ADAL" clId="{3136ABB0-5E07-4FDA-BC98-31E67987D5C7}" dt="2020-08-19T18:09:49.153" v="9963" actId="1037"/>
          <ac:picMkLst>
            <pc:docMk/>
            <pc:sldMk cId="2782010711" sldId="3392"/>
            <ac:picMk id="28686" creationId="{E7F5D6E9-0D3B-429D-B7EB-47525FB444EC}"/>
          </ac:picMkLst>
        </pc:picChg>
        <pc:picChg chg="add mod">
          <ac:chgData name="Robert Hokin" userId="716caab2-0991-4278-8ec6-0588b66ef10d" providerId="ADAL" clId="{3136ABB0-5E07-4FDA-BC98-31E67987D5C7}" dt="2020-08-19T18:09:49.153" v="9963" actId="1037"/>
          <ac:picMkLst>
            <pc:docMk/>
            <pc:sldMk cId="2782010711" sldId="3392"/>
            <ac:picMk id="28688" creationId="{1003A84B-E7F5-4CBC-8899-78731A91B223}"/>
          </ac:picMkLst>
        </pc:picChg>
        <pc:picChg chg="add mod">
          <ac:chgData name="Robert Hokin" userId="716caab2-0991-4278-8ec6-0588b66ef10d" providerId="ADAL" clId="{3136ABB0-5E07-4FDA-BC98-31E67987D5C7}" dt="2020-08-19T18:09:49.153" v="9963" actId="1037"/>
          <ac:picMkLst>
            <pc:docMk/>
            <pc:sldMk cId="2782010711" sldId="3392"/>
            <ac:picMk id="28690" creationId="{B2638E9B-66E5-442B-B5F1-C6AB3E0B917A}"/>
          </ac:picMkLst>
        </pc:picChg>
        <pc:picChg chg="add mod">
          <ac:chgData name="Robert Hokin" userId="716caab2-0991-4278-8ec6-0588b66ef10d" providerId="ADAL" clId="{3136ABB0-5E07-4FDA-BC98-31E67987D5C7}" dt="2020-08-19T18:09:49.153" v="9963" actId="1037"/>
          <ac:picMkLst>
            <pc:docMk/>
            <pc:sldMk cId="2782010711" sldId="3392"/>
            <ac:picMk id="28692" creationId="{B58C50ED-2B5E-430F-A126-012086EF705F}"/>
          </ac:picMkLst>
        </pc:picChg>
        <pc:picChg chg="add mod">
          <ac:chgData name="Robert Hokin" userId="716caab2-0991-4278-8ec6-0588b66ef10d" providerId="ADAL" clId="{3136ABB0-5E07-4FDA-BC98-31E67987D5C7}" dt="2020-08-19T18:09:49.153" v="9963" actId="1037"/>
          <ac:picMkLst>
            <pc:docMk/>
            <pc:sldMk cId="2782010711" sldId="3392"/>
            <ac:picMk id="28694" creationId="{F6AAEBFF-AF7E-4B38-A7F8-2A5333CBC303}"/>
          </ac:picMkLst>
        </pc:picChg>
        <pc:picChg chg="add del">
          <ac:chgData name="Robert Hokin" userId="716caab2-0991-4278-8ec6-0588b66ef10d" providerId="ADAL" clId="{3136ABB0-5E07-4FDA-BC98-31E67987D5C7}" dt="2020-08-19T16:32:28.308" v="7147"/>
          <ac:picMkLst>
            <pc:docMk/>
            <pc:sldMk cId="2782010711" sldId="3392"/>
            <ac:picMk id="28696" creationId="{AB3193DF-F950-4DEC-80B5-D2F8960EB06F}"/>
          </ac:picMkLst>
        </pc:picChg>
      </pc:sldChg>
      <pc:sldChg chg="addSp delSp del mod">
        <pc:chgData name="Robert Hokin" userId="716caab2-0991-4278-8ec6-0588b66ef10d" providerId="ADAL" clId="{3136ABB0-5E07-4FDA-BC98-31E67987D5C7}" dt="2020-08-19T12:14:45.385" v="2880" actId="47"/>
        <pc:sldMkLst>
          <pc:docMk/>
          <pc:sldMk cId="3867989535" sldId="3392"/>
        </pc:sldMkLst>
        <pc:spChg chg="add del">
          <ac:chgData name="Robert Hokin" userId="716caab2-0991-4278-8ec6-0588b66ef10d" providerId="ADAL" clId="{3136ABB0-5E07-4FDA-BC98-31E67987D5C7}" dt="2020-08-14T08:16:46.446" v="2517" actId="478"/>
          <ac:spMkLst>
            <pc:docMk/>
            <pc:sldMk cId="3867989535" sldId="3392"/>
            <ac:spMk id="16" creationId="{1591F934-84AA-4F71-97DC-7ABA1806B98D}"/>
          </ac:spMkLst>
        </pc:spChg>
        <pc:spChg chg="add del">
          <ac:chgData name="Robert Hokin" userId="716caab2-0991-4278-8ec6-0588b66ef10d" providerId="ADAL" clId="{3136ABB0-5E07-4FDA-BC98-31E67987D5C7}" dt="2020-08-14T08:16:45.051" v="2516" actId="478"/>
          <ac:spMkLst>
            <pc:docMk/>
            <pc:sldMk cId="3867989535" sldId="3392"/>
            <ac:spMk id="31" creationId="{B0FD468E-6ADF-4FAB-A989-8AB971B5D592}"/>
          </ac:spMkLst>
        </pc:spChg>
        <pc:picChg chg="del">
          <ac:chgData name="Robert Hokin" userId="716caab2-0991-4278-8ec6-0588b66ef10d" providerId="ADAL" clId="{3136ABB0-5E07-4FDA-BC98-31E67987D5C7}" dt="2020-08-14T08:17:18.925" v="2524" actId="478"/>
          <ac:picMkLst>
            <pc:docMk/>
            <pc:sldMk cId="3867989535" sldId="3392"/>
            <ac:picMk id="15" creationId="{FA71B9DC-7132-4FAF-9F84-50E0CA5F5F19}"/>
          </ac:picMkLst>
        </pc:picChg>
      </pc:sldChg>
      <pc:sldChg chg="addSp modSp add mod modAnim">
        <pc:chgData name="Robert Hokin" userId="716caab2-0991-4278-8ec6-0588b66ef10d" providerId="ADAL" clId="{3136ABB0-5E07-4FDA-BC98-31E67987D5C7}" dt="2020-08-19T18:06:50.405" v="9928" actId="20577"/>
        <pc:sldMkLst>
          <pc:docMk/>
          <pc:sldMk cId="273756904" sldId="3393"/>
        </pc:sldMkLst>
        <pc:spChg chg="add mod">
          <ac:chgData name="Robert Hokin" userId="716caab2-0991-4278-8ec6-0588b66ef10d" providerId="ADAL" clId="{3136ABB0-5E07-4FDA-BC98-31E67987D5C7}" dt="2020-08-19T18:06:50.405" v="9928" actId="20577"/>
          <ac:spMkLst>
            <pc:docMk/>
            <pc:sldMk cId="273756904" sldId="3393"/>
            <ac:spMk id="7" creationId="{1D774BB4-27B0-4BC8-88B4-DBA5D6E5C831}"/>
          </ac:spMkLst>
        </pc:spChg>
        <pc:spChg chg="mod">
          <ac:chgData name="Robert Hokin" userId="716caab2-0991-4278-8ec6-0588b66ef10d" providerId="ADAL" clId="{3136ABB0-5E07-4FDA-BC98-31E67987D5C7}" dt="2020-08-19T15:33:53.639" v="5769" actId="1076"/>
          <ac:spMkLst>
            <pc:docMk/>
            <pc:sldMk cId="273756904" sldId="3393"/>
            <ac:spMk id="33" creationId="{A2FE61D5-F22B-40FB-863E-A0AAE7A44B07}"/>
          </ac:spMkLst>
        </pc:spChg>
        <pc:picChg chg="add mod">
          <ac:chgData name="Robert Hokin" userId="716caab2-0991-4278-8ec6-0588b66ef10d" providerId="ADAL" clId="{3136ABB0-5E07-4FDA-BC98-31E67987D5C7}" dt="2020-08-19T16:36:07.630" v="7262" actId="1076"/>
          <ac:picMkLst>
            <pc:docMk/>
            <pc:sldMk cId="273756904" sldId="3393"/>
            <ac:picMk id="6" creationId="{07DFAFAC-021B-434A-AB3D-F03B016EF0AF}"/>
          </ac:picMkLst>
        </pc:picChg>
        <pc:picChg chg="add mod">
          <ac:chgData name="Robert Hokin" userId="716caab2-0991-4278-8ec6-0588b66ef10d" providerId="ADAL" clId="{3136ABB0-5E07-4FDA-BC98-31E67987D5C7}" dt="2020-08-19T18:05:27.087" v="9847" actId="1076"/>
          <ac:picMkLst>
            <pc:docMk/>
            <pc:sldMk cId="273756904" sldId="3393"/>
            <ac:picMk id="26626" creationId="{D60DB042-E76C-4D10-9036-05042FAA919F}"/>
          </ac:picMkLst>
        </pc:picChg>
      </pc:sldChg>
      <pc:sldChg chg="del">
        <pc:chgData name="Robert Hokin" userId="716caab2-0991-4278-8ec6-0588b66ef10d" providerId="ADAL" clId="{3136ABB0-5E07-4FDA-BC98-31E67987D5C7}" dt="2020-08-13T16:56:19.830" v="88" actId="47"/>
        <pc:sldMkLst>
          <pc:docMk/>
          <pc:sldMk cId="2018563851" sldId="3393"/>
        </pc:sldMkLst>
      </pc:sldChg>
      <pc:sldChg chg="addSp delSp modSp add del mod ord addAnim delAnim modAnim">
        <pc:chgData name="Robert Hokin" userId="716caab2-0991-4278-8ec6-0588b66ef10d" providerId="ADAL" clId="{3136ABB0-5E07-4FDA-BC98-31E67987D5C7}" dt="2020-08-19T17:53:11.263" v="8850" actId="47"/>
        <pc:sldMkLst>
          <pc:docMk/>
          <pc:sldMk cId="586053304" sldId="3394"/>
        </pc:sldMkLst>
        <pc:spChg chg="add del mod">
          <ac:chgData name="Robert Hokin" userId="716caab2-0991-4278-8ec6-0588b66ef10d" providerId="ADAL" clId="{3136ABB0-5E07-4FDA-BC98-31E67987D5C7}" dt="2020-08-19T17:14:23.708" v="8186" actId="478"/>
          <ac:spMkLst>
            <pc:docMk/>
            <pc:sldMk cId="586053304" sldId="3394"/>
            <ac:spMk id="3" creationId="{1F7D73D5-F3E3-484A-A60E-EC7D6AC9E7DB}"/>
          </ac:spMkLst>
        </pc:spChg>
        <pc:spChg chg="add del">
          <ac:chgData name="Robert Hokin" userId="716caab2-0991-4278-8ec6-0588b66ef10d" providerId="ADAL" clId="{3136ABB0-5E07-4FDA-BC98-31E67987D5C7}" dt="2020-08-19T13:10:03.335" v="3330" actId="22"/>
          <ac:spMkLst>
            <pc:docMk/>
            <pc:sldMk cId="586053304" sldId="3394"/>
            <ac:spMk id="6" creationId="{B61C2523-2673-41F2-9980-41CB8BEB59B9}"/>
          </ac:spMkLst>
        </pc:spChg>
        <pc:spChg chg="add mod">
          <ac:chgData name="Robert Hokin" userId="716caab2-0991-4278-8ec6-0588b66ef10d" providerId="ADAL" clId="{3136ABB0-5E07-4FDA-BC98-31E67987D5C7}" dt="2020-08-19T15:35:59.324" v="5793" actId="20577"/>
          <ac:spMkLst>
            <pc:docMk/>
            <pc:sldMk cId="586053304" sldId="3394"/>
            <ac:spMk id="8" creationId="{F75EB3AA-B504-4622-8E95-DE5778625623}"/>
          </ac:spMkLst>
        </pc:spChg>
        <pc:spChg chg="add del">
          <ac:chgData name="Robert Hokin" userId="716caab2-0991-4278-8ec6-0588b66ef10d" providerId="ADAL" clId="{3136ABB0-5E07-4FDA-BC98-31E67987D5C7}" dt="2020-08-19T16:18:25.503" v="6770" actId="478"/>
          <ac:spMkLst>
            <pc:docMk/>
            <pc:sldMk cId="586053304" sldId="3394"/>
            <ac:spMk id="9" creationId="{93E3BB17-2A1A-4A37-8095-4DD21DB81C1D}"/>
          </ac:spMkLst>
        </pc:spChg>
        <pc:spChg chg="add del mod">
          <ac:chgData name="Robert Hokin" userId="716caab2-0991-4278-8ec6-0588b66ef10d" providerId="ADAL" clId="{3136ABB0-5E07-4FDA-BC98-31E67987D5C7}" dt="2020-08-19T16:18:39.378" v="6773" actId="478"/>
          <ac:spMkLst>
            <pc:docMk/>
            <pc:sldMk cId="586053304" sldId="3394"/>
            <ac:spMk id="11" creationId="{33571433-05AA-4BC8-BE30-54FE4CF93D6F}"/>
          </ac:spMkLst>
        </pc:spChg>
        <pc:spChg chg="add del mod">
          <ac:chgData name="Robert Hokin" userId="716caab2-0991-4278-8ec6-0588b66ef10d" providerId="ADAL" clId="{3136ABB0-5E07-4FDA-BC98-31E67987D5C7}" dt="2020-08-19T16:18:13.292" v="6751" actId="478"/>
          <ac:spMkLst>
            <pc:docMk/>
            <pc:sldMk cId="586053304" sldId="3394"/>
            <ac:spMk id="12" creationId="{8F53A8C3-FCB6-4406-AA92-F39ED7C54ECA}"/>
          </ac:spMkLst>
        </pc:spChg>
        <pc:spChg chg="add del mod">
          <ac:chgData name="Robert Hokin" userId="716caab2-0991-4278-8ec6-0588b66ef10d" providerId="ADAL" clId="{3136ABB0-5E07-4FDA-BC98-31E67987D5C7}" dt="2020-08-19T16:16:27.979" v="6749"/>
          <ac:spMkLst>
            <pc:docMk/>
            <pc:sldMk cId="586053304" sldId="3394"/>
            <ac:spMk id="13" creationId="{85D35584-41B3-4B4F-A09A-B81D08F35134}"/>
          </ac:spMkLst>
        </pc:spChg>
        <pc:spChg chg="add mod">
          <ac:chgData name="Robert Hokin" userId="716caab2-0991-4278-8ec6-0588b66ef10d" providerId="ADAL" clId="{3136ABB0-5E07-4FDA-BC98-31E67987D5C7}" dt="2020-08-19T17:49:42.026" v="8849" actId="21"/>
          <ac:spMkLst>
            <pc:docMk/>
            <pc:sldMk cId="586053304" sldId="3394"/>
            <ac:spMk id="16" creationId="{90DE8CA0-EDFB-4557-B9C2-D5891AFC8105}"/>
          </ac:spMkLst>
        </pc:spChg>
        <pc:spChg chg="add del mod">
          <ac:chgData name="Robert Hokin" userId="716caab2-0991-4278-8ec6-0588b66ef10d" providerId="ADAL" clId="{3136ABB0-5E07-4FDA-BC98-31E67987D5C7}" dt="2020-08-19T16:54:33.627" v="7524" actId="478"/>
          <ac:spMkLst>
            <pc:docMk/>
            <pc:sldMk cId="586053304" sldId="3394"/>
            <ac:spMk id="17" creationId="{F0051AA8-E32A-4255-9A6F-7CEC99C07CCB}"/>
          </ac:spMkLst>
        </pc:spChg>
        <pc:spChg chg="add del mod">
          <ac:chgData name="Robert Hokin" userId="716caab2-0991-4278-8ec6-0588b66ef10d" providerId="ADAL" clId="{3136ABB0-5E07-4FDA-BC98-31E67987D5C7}" dt="2020-08-19T17:14:19.636" v="8185" actId="478"/>
          <ac:spMkLst>
            <pc:docMk/>
            <pc:sldMk cId="586053304" sldId="3394"/>
            <ac:spMk id="18" creationId="{2F536DCD-51A7-45D1-A893-CCE010E060B4}"/>
          </ac:spMkLst>
        </pc:spChg>
        <pc:spChg chg="add mod">
          <ac:chgData name="Robert Hokin" userId="716caab2-0991-4278-8ec6-0588b66ef10d" providerId="ADAL" clId="{3136ABB0-5E07-4FDA-BC98-31E67987D5C7}" dt="2020-08-19T17:15:21.061" v="8369" actId="1036"/>
          <ac:spMkLst>
            <pc:docMk/>
            <pc:sldMk cId="586053304" sldId="3394"/>
            <ac:spMk id="19" creationId="{81B69A7D-2ADC-474B-BC2B-5CA1878CD6A2}"/>
          </ac:spMkLst>
        </pc:spChg>
        <pc:spChg chg="add del mod">
          <ac:chgData name="Robert Hokin" userId="716caab2-0991-4278-8ec6-0588b66ef10d" providerId="ADAL" clId="{3136ABB0-5E07-4FDA-BC98-31E67987D5C7}" dt="2020-08-19T17:14:06.909" v="8183" actId="478"/>
          <ac:spMkLst>
            <pc:docMk/>
            <pc:sldMk cId="586053304" sldId="3394"/>
            <ac:spMk id="20" creationId="{023C4258-E3B8-47A8-99BA-508504AD4F83}"/>
          </ac:spMkLst>
        </pc:spChg>
        <pc:spChg chg="add mod">
          <ac:chgData name="Robert Hokin" userId="716caab2-0991-4278-8ec6-0588b66ef10d" providerId="ADAL" clId="{3136ABB0-5E07-4FDA-BC98-31E67987D5C7}" dt="2020-08-19T17:34:09.678" v="8813" actId="1036"/>
          <ac:spMkLst>
            <pc:docMk/>
            <pc:sldMk cId="586053304" sldId="3394"/>
            <ac:spMk id="21" creationId="{2670D418-3B16-4525-A180-3B0887E2EDAE}"/>
          </ac:spMkLst>
        </pc:spChg>
        <pc:spChg chg="del mod">
          <ac:chgData name="Robert Hokin" userId="716caab2-0991-4278-8ec6-0588b66ef10d" providerId="ADAL" clId="{3136ABB0-5E07-4FDA-BC98-31E67987D5C7}" dt="2020-08-19T14:33:31.555" v="4528" actId="478"/>
          <ac:spMkLst>
            <pc:docMk/>
            <pc:sldMk cId="586053304" sldId="3394"/>
            <ac:spMk id="33" creationId="{A2FE61D5-F22B-40FB-863E-A0AAE7A44B07}"/>
          </ac:spMkLst>
        </pc:spChg>
        <pc:picChg chg="add mod">
          <ac:chgData name="Robert Hokin" userId="716caab2-0991-4278-8ec6-0588b66ef10d" providerId="ADAL" clId="{3136ABB0-5E07-4FDA-BC98-31E67987D5C7}" dt="2020-08-19T15:34:01.254" v="5771" actId="1076"/>
          <ac:picMkLst>
            <pc:docMk/>
            <pc:sldMk cId="586053304" sldId="3394"/>
            <ac:picMk id="27650" creationId="{679E1667-9828-42D4-8544-2595C7DE52D0}"/>
          </ac:picMkLst>
        </pc:picChg>
      </pc:sldChg>
      <pc:sldChg chg="del">
        <pc:chgData name="Robert Hokin" userId="716caab2-0991-4278-8ec6-0588b66ef10d" providerId="ADAL" clId="{3136ABB0-5E07-4FDA-BC98-31E67987D5C7}" dt="2020-08-13T16:56:21.229" v="89" actId="47"/>
        <pc:sldMkLst>
          <pc:docMk/>
          <pc:sldMk cId="4210652091" sldId="3394"/>
        </pc:sldMkLst>
      </pc:sldChg>
      <pc:sldChg chg="del">
        <pc:chgData name="Robert Hokin" userId="716caab2-0991-4278-8ec6-0588b66ef10d" providerId="ADAL" clId="{3136ABB0-5E07-4FDA-BC98-31E67987D5C7}" dt="2020-08-13T16:56:22.427" v="90" actId="47"/>
        <pc:sldMkLst>
          <pc:docMk/>
          <pc:sldMk cId="1036177186" sldId="3395"/>
        </pc:sldMkLst>
      </pc:sldChg>
      <pc:sldChg chg="addSp delSp modSp add mod modTransition delAnim modAnim">
        <pc:chgData name="Robert Hokin" userId="716caab2-0991-4278-8ec6-0588b66ef10d" providerId="ADAL" clId="{3136ABB0-5E07-4FDA-BC98-31E67987D5C7}" dt="2020-08-19T18:14:41.048" v="9981"/>
        <pc:sldMkLst>
          <pc:docMk/>
          <pc:sldMk cId="3194939807" sldId="3395"/>
        </pc:sldMkLst>
        <pc:spChg chg="del">
          <ac:chgData name="Robert Hokin" userId="716caab2-0991-4278-8ec6-0588b66ef10d" providerId="ADAL" clId="{3136ABB0-5E07-4FDA-BC98-31E67987D5C7}" dt="2020-08-19T14:11:34.084" v="4477" actId="478"/>
          <ac:spMkLst>
            <pc:docMk/>
            <pc:sldMk cId="3194939807" sldId="3395"/>
            <ac:spMk id="3" creationId="{1F7D73D5-F3E3-484A-A60E-EC7D6AC9E7DB}"/>
          </ac:spMkLst>
        </pc:spChg>
        <pc:spChg chg="add mod">
          <ac:chgData name="Robert Hokin" userId="716caab2-0991-4278-8ec6-0588b66ef10d" providerId="ADAL" clId="{3136ABB0-5E07-4FDA-BC98-31E67987D5C7}" dt="2020-08-19T18:12:37.901" v="9971" actId="1076"/>
          <ac:spMkLst>
            <pc:docMk/>
            <pc:sldMk cId="3194939807" sldId="3395"/>
            <ac:spMk id="5" creationId="{CBCB8576-6C01-4AAB-9E08-27E7CF9A7FD3}"/>
          </ac:spMkLst>
        </pc:spChg>
        <pc:spChg chg="add del mod">
          <ac:chgData name="Robert Hokin" userId="716caab2-0991-4278-8ec6-0588b66ef10d" providerId="ADAL" clId="{3136ABB0-5E07-4FDA-BC98-31E67987D5C7}" dt="2020-08-19T15:36:56.772" v="5798" actId="478"/>
          <ac:spMkLst>
            <pc:docMk/>
            <pc:sldMk cId="3194939807" sldId="3395"/>
            <ac:spMk id="6" creationId="{20435E1D-0C73-4F77-AF07-70BC9433F4AC}"/>
          </ac:spMkLst>
        </pc:spChg>
        <pc:spChg chg="add mod">
          <ac:chgData name="Robert Hokin" userId="716caab2-0991-4278-8ec6-0588b66ef10d" providerId="ADAL" clId="{3136ABB0-5E07-4FDA-BC98-31E67987D5C7}" dt="2020-08-19T18:07:17.600" v="9932" actId="20577"/>
          <ac:spMkLst>
            <pc:docMk/>
            <pc:sldMk cId="3194939807" sldId="3395"/>
            <ac:spMk id="15" creationId="{14C5A7C3-2DF4-4A27-951A-B25FF899738B}"/>
          </ac:spMkLst>
        </pc:spChg>
        <pc:spChg chg="add del mod">
          <ac:chgData name="Robert Hokin" userId="716caab2-0991-4278-8ec6-0588b66ef10d" providerId="ADAL" clId="{3136ABB0-5E07-4FDA-BC98-31E67987D5C7}" dt="2020-08-19T17:11:35.618" v="7936" actId="478"/>
          <ac:spMkLst>
            <pc:docMk/>
            <pc:sldMk cId="3194939807" sldId="3395"/>
            <ac:spMk id="16" creationId="{B1AE06CB-54A0-4D43-932D-9BBD8D7E9567}"/>
          </ac:spMkLst>
        </pc:spChg>
        <pc:spChg chg="add mod">
          <ac:chgData name="Robert Hokin" userId="716caab2-0991-4278-8ec6-0588b66ef10d" providerId="ADAL" clId="{3136ABB0-5E07-4FDA-BC98-31E67987D5C7}" dt="2020-08-19T18:07:32.567" v="9942" actId="20577"/>
          <ac:spMkLst>
            <pc:docMk/>
            <pc:sldMk cId="3194939807" sldId="3395"/>
            <ac:spMk id="17" creationId="{E7CBFAEF-C520-480F-AD1C-E00DC544F065}"/>
          </ac:spMkLst>
        </pc:spChg>
        <pc:spChg chg="add mod">
          <ac:chgData name="Robert Hokin" userId="716caab2-0991-4278-8ec6-0588b66ef10d" providerId="ADAL" clId="{3136ABB0-5E07-4FDA-BC98-31E67987D5C7}" dt="2020-08-19T18:12:37.901" v="9971" actId="1076"/>
          <ac:spMkLst>
            <pc:docMk/>
            <pc:sldMk cId="3194939807" sldId="3395"/>
            <ac:spMk id="18" creationId="{F6966667-967C-47AD-8356-ED44ADD49C5F}"/>
          </ac:spMkLst>
        </pc:spChg>
        <pc:spChg chg="add mod">
          <ac:chgData name="Robert Hokin" userId="716caab2-0991-4278-8ec6-0588b66ef10d" providerId="ADAL" clId="{3136ABB0-5E07-4FDA-BC98-31E67987D5C7}" dt="2020-08-19T18:11:40.413" v="9968" actId="1076"/>
          <ac:spMkLst>
            <pc:docMk/>
            <pc:sldMk cId="3194939807" sldId="3395"/>
            <ac:spMk id="19" creationId="{D355ECF0-AD23-47E8-95D8-2401D0148638}"/>
          </ac:spMkLst>
        </pc:spChg>
        <pc:spChg chg="add mod">
          <ac:chgData name="Robert Hokin" userId="716caab2-0991-4278-8ec6-0588b66ef10d" providerId="ADAL" clId="{3136ABB0-5E07-4FDA-BC98-31E67987D5C7}" dt="2020-08-19T18:07:21.209" v="9936" actId="20577"/>
          <ac:spMkLst>
            <pc:docMk/>
            <pc:sldMk cId="3194939807" sldId="3395"/>
            <ac:spMk id="20" creationId="{56322C77-8ED7-4444-9C9E-DAE977744A2D}"/>
          </ac:spMkLst>
        </pc:spChg>
        <pc:spChg chg="del mod">
          <ac:chgData name="Robert Hokin" userId="716caab2-0991-4278-8ec6-0588b66ef10d" providerId="ADAL" clId="{3136ABB0-5E07-4FDA-BC98-31E67987D5C7}" dt="2020-08-19T14:33:05.850" v="4527"/>
          <ac:spMkLst>
            <pc:docMk/>
            <pc:sldMk cId="3194939807" sldId="3395"/>
            <ac:spMk id="33" creationId="{A2FE61D5-F22B-40FB-863E-A0AAE7A44B07}"/>
          </ac:spMkLst>
        </pc:spChg>
        <pc:picChg chg="mod">
          <ac:chgData name="Robert Hokin" userId="716caab2-0991-4278-8ec6-0588b66ef10d" providerId="ADAL" clId="{3136ABB0-5E07-4FDA-BC98-31E67987D5C7}" dt="2020-08-19T18:11:40.413" v="9968" actId="1076"/>
          <ac:picMkLst>
            <pc:docMk/>
            <pc:sldMk cId="3194939807" sldId="3395"/>
            <ac:picMk id="27650" creationId="{679E1667-9828-42D4-8544-2595C7DE52D0}"/>
          </ac:picMkLst>
        </pc:picChg>
        <pc:picChg chg="add mod">
          <ac:chgData name="Robert Hokin" userId="716caab2-0991-4278-8ec6-0588b66ef10d" providerId="ADAL" clId="{3136ABB0-5E07-4FDA-BC98-31E67987D5C7}" dt="2020-08-19T15:38:07.675" v="5805" actId="1076"/>
          <ac:picMkLst>
            <pc:docMk/>
            <pc:sldMk cId="3194939807" sldId="3395"/>
            <ac:picMk id="29698" creationId="{11B00620-9FEC-4253-9AFD-665DCFBCD15B}"/>
          </ac:picMkLst>
        </pc:picChg>
        <pc:picChg chg="add del mod">
          <ac:chgData name="Robert Hokin" userId="716caab2-0991-4278-8ec6-0588b66ef10d" providerId="ADAL" clId="{3136ABB0-5E07-4FDA-BC98-31E67987D5C7}" dt="2020-08-19T14:30:42.961" v="4512"/>
          <ac:picMkLst>
            <pc:docMk/>
            <pc:sldMk cId="3194939807" sldId="3395"/>
            <ac:picMk id="29700" creationId="{126DD475-9528-443E-BF21-0B9E5EAD76E7}"/>
          </ac:picMkLst>
        </pc:picChg>
        <pc:picChg chg="add del mod">
          <ac:chgData name="Robert Hokin" userId="716caab2-0991-4278-8ec6-0588b66ef10d" providerId="ADAL" clId="{3136ABB0-5E07-4FDA-BC98-31E67987D5C7}" dt="2020-08-19T14:31:09.529" v="4515" actId="478"/>
          <ac:picMkLst>
            <pc:docMk/>
            <pc:sldMk cId="3194939807" sldId="3395"/>
            <ac:picMk id="29702" creationId="{2AC82D0B-7199-45D1-A576-6427C08C3CCA}"/>
          </ac:picMkLst>
        </pc:picChg>
        <pc:picChg chg="add mod">
          <ac:chgData name="Robert Hokin" userId="716caab2-0991-4278-8ec6-0588b66ef10d" providerId="ADAL" clId="{3136ABB0-5E07-4FDA-BC98-31E67987D5C7}" dt="2020-08-19T18:12:37.901" v="9971" actId="1076"/>
          <ac:picMkLst>
            <pc:docMk/>
            <pc:sldMk cId="3194939807" sldId="3395"/>
            <ac:picMk id="29704" creationId="{CED99414-F0D2-44EB-837F-4000E38E97AC}"/>
          </ac:picMkLst>
        </pc:picChg>
      </pc:sldChg>
      <pc:sldChg chg="add del">
        <pc:chgData name="Robert Hokin" userId="716caab2-0991-4278-8ec6-0588b66ef10d" providerId="ADAL" clId="{3136ABB0-5E07-4FDA-BC98-31E67987D5C7}" dt="2020-08-19T13:09:21.862" v="3278"/>
        <pc:sldMkLst>
          <pc:docMk/>
          <pc:sldMk cId="3590813904" sldId="3395"/>
        </pc:sldMkLst>
      </pc:sldChg>
      <pc:sldChg chg="del">
        <pc:chgData name="Robert Hokin" userId="716caab2-0991-4278-8ec6-0588b66ef10d" providerId="ADAL" clId="{3136ABB0-5E07-4FDA-BC98-31E67987D5C7}" dt="2020-08-13T16:56:46.802" v="128" actId="47"/>
        <pc:sldMkLst>
          <pc:docMk/>
          <pc:sldMk cId="336476075" sldId="3396"/>
        </pc:sldMkLst>
      </pc:sldChg>
      <pc:sldChg chg="delSp modSp add mod delAnim modAnim">
        <pc:chgData name="Robert Hokin" userId="716caab2-0991-4278-8ec6-0588b66ef10d" providerId="ADAL" clId="{3136ABB0-5E07-4FDA-BC98-31E67987D5C7}" dt="2020-08-19T18:18:07.061" v="10004" actId="20577"/>
        <pc:sldMkLst>
          <pc:docMk/>
          <pc:sldMk cId="2788494211" sldId="3396"/>
        </pc:sldMkLst>
        <pc:spChg chg="mod">
          <ac:chgData name="Robert Hokin" userId="716caab2-0991-4278-8ec6-0588b66ef10d" providerId="ADAL" clId="{3136ABB0-5E07-4FDA-BC98-31E67987D5C7}" dt="2020-08-19T16:05:12.926" v="6200" actId="404"/>
          <ac:spMkLst>
            <pc:docMk/>
            <pc:sldMk cId="2788494211" sldId="3396"/>
            <ac:spMk id="2" creationId="{B0E1B4F5-0196-468C-8A50-0DE4685E5455}"/>
          </ac:spMkLst>
        </pc:spChg>
        <pc:spChg chg="del mod">
          <ac:chgData name="Robert Hokin" userId="716caab2-0991-4278-8ec6-0588b66ef10d" providerId="ADAL" clId="{3136ABB0-5E07-4FDA-BC98-31E67987D5C7}" dt="2020-08-19T16:04:40.107" v="6196" actId="478"/>
          <ac:spMkLst>
            <pc:docMk/>
            <pc:sldMk cId="2788494211" sldId="3396"/>
            <ac:spMk id="5" creationId="{CBCB8576-6C01-4AAB-9E08-27E7CF9A7FD3}"/>
          </ac:spMkLst>
        </pc:spChg>
        <pc:spChg chg="mod">
          <ac:chgData name="Robert Hokin" userId="716caab2-0991-4278-8ec6-0588b66ef10d" providerId="ADAL" clId="{3136ABB0-5E07-4FDA-BC98-31E67987D5C7}" dt="2020-08-19T18:18:07.061" v="10004" actId="20577"/>
          <ac:spMkLst>
            <pc:docMk/>
            <pc:sldMk cId="2788494211" sldId="3396"/>
            <ac:spMk id="6" creationId="{20435E1D-0C73-4F77-AF07-70BC9433F4AC}"/>
          </ac:spMkLst>
        </pc:spChg>
        <pc:picChg chg="mod">
          <ac:chgData name="Robert Hokin" userId="716caab2-0991-4278-8ec6-0588b66ef10d" providerId="ADAL" clId="{3136ABB0-5E07-4FDA-BC98-31E67987D5C7}" dt="2020-08-19T18:07:45.012" v="9943" actId="1076"/>
          <ac:picMkLst>
            <pc:docMk/>
            <pc:sldMk cId="2788494211" sldId="3396"/>
            <ac:picMk id="27650" creationId="{679E1667-9828-42D4-8544-2595C7DE52D0}"/>
          </ac:picMkLst>
        </pc:picChg>
        <pc:picChg chg="mod">
          <ac:chgData name="Robert Hokin" userId="716caab2-0991-4278-8ec6-0588b66ef10d" providerId="ADAL" clId="{3136ABB0-5E07-4FDA-BC98-31E67987D5C7}" dt="2020-08-19T18:07:45.012" v="9943" actId="1076"/>
          <ac:picMkLst>
            <pc:docMk/>
            <pc:sldMk cId="2788494211" sldId="3396"/>
            <ac:picMk id="29698" creationId="{11B00620-9FEC-4253-9AFD-665DCFBCD15B}"/>
          </ac:picMkLst>
        </pc:picChg>
      </pc:sldChg>
      <pc:sldChg chg="del">
        <pc:chgData name="Robert Hokin" userId="716caab2-0991-4278-8ec6-0588b66ef10d" providerId="ADAL" clId="{3136ABB0-5E07-4FDA-BC98-31E67987D5C7}" dt="2020-08-13T16:56:47.519" v="132" actId="47"/>
        <pc:sldMkLst>
          <pc:docMk/>
          <pc:sldMk cId="490072629" sldId="3397"/>
        </pc:sldMkLst>
      </pc:sldChg>
      <pc:sldChg chg="modSp add mod">
        <pc:chgData name="Robert Hokin" userId="716caab2-0991-4278-8ec6-0588b66ef10d" providerId="ADAL" clId="{3136ABB0-5E07-4FDA-BC98-31E67987D5C7}" dt="2020-08-19T18:03:12.140" v="9743" actId="404"/>
        <pc:sldMkLst>
          <pc:docMk/>
          <pc:sldMk cId="1833697290" sldId="3397"/>
        </pc:sldMkLst>
        <pc:spChg chg="mod">
          <ac:chgData name="Robert Hokin" userId="716caab2-0991-4278-8ec6-0588b66ef10d" providerId="ADAL" clId="{3136ABB0-5E07-4FDA-BC98-31E67987D5C7}" dt="2020-08-19T18:02:31.368" v="9716" actId="1036"/>
          <ac:spMkLst>
            <pc:docMk/>
            <pc:sldMk cId="1833697290" sldId="3397"/>
            <ac:spMk id="4" creationId="{FFBDED99-09EE-4623-A5CA-27FF92A9BA1A}"/>
          </ac:spMkLst>
        </pc:spChg>
        <pc:spChg chg="mod">
          <ac:chgData name="Robert Hokin" userId="716caab2-0991-4278-8ec6-0588b66ef10d" providerId="ADAL" clId="{3136ABB0-5E07-4FDA-BC98-31E67987D5C7}" dt="2020-08-19T18:03:12.140" v="9743" actId="404"/>
          <ac:spMkLst>
            <pc:docMk/>
            <pc:sldMk cId="1833697290" sldId="3397"/>
            <ac:spMk id="7" creationId="{519615A1-F7DF-4986-9C4D-3B7999196EAC}"/>
          </ac:spMkLst>
        </pc:spChg>
      </pc:sldChg>
      <pc:sldChg chg="del">
        <pc:chgData name="Robert Hokin" userId="716caab2-0991-4278-8ec6-0588b66ef10d" providerId="ADAL" clId="{3136ABB0-5E07-4FDA-BC98-31E67987D5C7}" dt="2020-08-13T16:56:47.723" v="133" actId="47"/>
        <pc:sldMkLst>
          <pc:docMk/>
          <pc:sldMk cId="0" sldId="3398"/>
        </pc:sldMkLst>
      </pc:sldChg>
      <pc:sldChg chg="del">
        <pc:chgData name="Robert Hokin" userId="716caab2-0991-4278-8ec6-0588b66ef10d" providerId="ADAL" clId="{3136ABB0-5E07-4FDA-BC98-31E67987D5C7}" dt="2020-08-13T16:56:47.911" v="134" actId="47"/>
        <pc:sldMkLst>
          <pc:docMk/>
          <pc:sldMk cId="0" sldId="3399"/>
        </pc:sldMkLst>
      </pc:sldChg>
      <pc:sldChg chg="del">
        <pc:chgData name="Robert Hokin" userId="716caab2-0991-4278-8ec6-0588b66ef10d" providerId="ADAL" clId="{3136ABB0-5E07-4FDA-BC98-31E67987D5C7}" dt="2020-08-13T16:56:49.073" v="136" actId="47"/>
        <pc:sldMkLst>
          <pc:docMk/>
          <pc:sldMk cId="685651671" sldId="3400"/>
        </pc:sldMkLst>
      </pc:sldChg>
      <pc:sldChg chg="del">
        <pc:chgData name="Robert Hokin" userId="716caab2-0991-4278-8ec6-0588b66ef10d" providerId="ADAL" clId="{3136ABB0-5E07-4FDA-BC98-31E67987D5C7}" dt="2020-08-13T16:56:50.761" v="138" actId="47"/>
        <pc:sldMkLst>
          <pc:docMk/>
          <pc:sldMk cId="3499646727" sldId="3401"/>
        </pc:sldMkLst>
      </pc:sldChg>
      <pc:sldChg chg="del">
        <pc:chgData name="Robert Hokin" userId="716caab2-0991-4278-8ec6-0588b66ef10d" providerId="ADAL" clId="{3136ABB0-5E07-4FDA-BC98-31E67987D5C7}" dt="2020-08-13T16:54:42.736" v="12" actId="47"/>
        <pc:sldMkLst>
          <pc:docMk/>
          <pc:sldMk cId="4239045279" sldId="3402"/>
        </pc:sldMkLst>
      </pc:sldChg>
      <pc:sldChg chg="del">
        <pc:chgData name="Robert Hokin" userId="716caab2-0991-4278-8ec6-0588b66ef10d" providerId="ADAL" clId="{3136ABB0-5E07-4FDA-BC98-31E67987D5C7}" dt="2020-08-13T16:54:42.934" v="13" actId="47"/>
        <pc:sldMkLst>
          <pc:docMk/>
          <pc:sldMk cId="2621654045" sldId="3403"/>
        </pc:sldMkLst>
      </pc:sldChg>
      <pc:sldChg chg="del">
        <pc:chgData name="Robert Hokin" userId="716caab2-0991-4278-8ec6-0588b66ef10d" providerId="ADAL" clId="{3136ABB0-5E07-4FDA-BC98-31E67987D5C7}" dt="2020-08-13T16:54:43.117" v="14" actId="47"/>
        <pc:sldMkLst>
          <pc:docMk/>
          <pc:sldMk cId="2459599868" sldId="3404"/>
        </pc:sldMkLst>
      </pc:sldChg>
      <pc:sldChg chg="del">
        <pc:chgData name="Robert Hokin" userId="716caab2-0991-4278-8ec6-0588b66ef10d" providerId="ADAL" clId="{3136ABB0-5E07-4FDA-BC98-31E67987D5C7}" dt="2020-08-13T16:54:43.287" v="15" actId="47"/>
        <pc:sldMkLst>
          <pc:docMk/>
          <pc:sldMk cId="1312568957" sldId="3405"/>
        </pc:sldMkLst>
      </pc:sldChg>
      <pc:sldChg chg="del">
        <pc:chgData name="Robert Hokin" userId="716caab2-0991-4278-8ec6-0588b66ef10d" providerId="ADAL" clId="{3136ABB0-5E07-4FDA-BC98-31E67987D5C7}" dt="2020-08-13T16:54:43.457" v="16" actId="47"/>
        <pc:sldMkLst>
          <pc:docMk/>
          <pc:sldMk cId="4227620775" sldId="3406"/>
        </pc:sldMkLst>
      </pc:sldChg>
      <pc:sldChg chg="del">
        <pc:chgData name="Robert Hokin" userId="716caab2-0991-4278-8ec6-0588b66ef10d" providerId="ADAL" clId="{3136ABB0-5E07-4FDA-BC98-31E67987D5C7}" dt="2020-08-13T16:54:43.622" v="17" actId="47"/>
        <pc:sldMkLst>
          <pc:docMk/>
          <pc:sldMk cId="2953985505" sldId="3407"/>
        </pc:sldMkLst>
      </pc:sldChg>
      <pc:sldChg chg="del">
        <pc:chgData name="Robert Hokin" userId="716caab2-0991-4278-8ec6-0588b66ef10d" providerId="ADAL" clId="{3136ABB0-5E07-4FDA-BC98-31E67987D5C7}" dt="2020-08-13T16:54:43.785" v="18" actId="47"/>
        <pc:sldMkLst>
          <pc:docMk/>
          <pc:sldMk cId="4179156953" sldId="3408"/>
        </pc:sldMkLst>
      </pc:sldChg>
      <pc:sldChg chg="del">
        <pc:chgData name="Robert Hokin" userId="716caab2-0991-4278-8ec6-0588b66ef10d" providerId="ADAL" clId="{3136ABB0-5E07-4FDA-BC98-31E67987D5C7}" dt="2020-08-13T16:54:43.984" v="19" actId="47"/>
        <pc:sldMkLst>
          <pc:docMk/>
          <pc:sldMk cId="1132122482" sldId="3409"/>
        </pc:sldMkLst>
      </pc:sldChg>
      <pc:sldChg chg="del">
        <pc:chgData name="Robert Hokin" userId="716caab2-0991-4278-8ec6-0588b66ef10d" providerId="ADAL" clId="{3136ABB0-5E07-4FDA-BC98-31E67987D5C7}" dt="2020-08-13T16:54:44.154" v="20" actId="47"/>
        <pc:sldMkLst>
          <pc:docMk/>
          <pc:sldMk cId="2745030692" sldId="3410"/>
        </pc:sldMkLst>
      </pc:sldChg>
      <pc:sldChg chg="del">
        <pc:chgData name="Robert Hokin" userId="716caab2-0991-4278-8ec6-0588b66ef10d" providerId="ADAL" clId="{3136ABB0-5E07-4FDA-BC98-31E67987D5C7}" dt="2020-08-13T16:54:44.876" v="21" actId="47"/>
        <pc:sldMkLst>
          <pc:docMk/>
          <pc:sldMk cId="1065411179" sldId="3411"/>
        </pc:sldMkLst>
      </pc:sldChg>
      <pc:sldChg chg="del">
        <pc:chgData name="Robert Hokin" userId="716caab2-0991-4278-8ec6-0588b66ef10d" providerId="ADAL" clId="{3136ABB0-5E07-4FDA-BC98-31E67987D5C7}" dt="2020-08-13T16:54:47.134" v="22" actId="47"/>
        <pc:sldMkLst>
          <pc:docMk/>
          <pc:sldMk cId="812895994" sldId="3412"/>
        </pc:sldMkLst>
      </pc:sldChg>
      <pc:sldChg chg="del">
        <pc:chgData name="Robert Hokin" userId="716caab2-0991-4278-8ec6-0588b66ef10d" providerId="ADAL" clId="{3136ABB0-5E07-4FDA-BC98-31E67987D5C7}" dt="2020-08-13T16:54:48.156" v="23" actId="47"/>
        <pc:sldMkLst>
          <pc:docMk/>
          <pc:sldMk cId="610349620" sldId="3413"/>
        </pc:sldMkLst>
      </pc:sldChg>
      <pc:sldChg chg="del">
        <pc:chgData name="Robert Hokin" userId="716caab2-0991-4278-8ec6-0588b66ef10d" providerId="ADAL" clId="{3136ABB0-5E07-4FDA-BC98-31E67987D5C7}" dt="2020-08-13T16:54:48.783" v="24" actId="47"/>
        <pc:sldMkLst>
          <pc:docMk/>
          <pc:sldMk cId="636784303" sldId="3414"/>
        </pc:sldMkLst>
      </pc:sldChg>
      <pc:sldChg chg="del">
        <pc:chgData name="Robert Hokin" userId="716caab2-0991-4278-8ec6-0588b66ef10d" providerId="ADAL" clId="{3136ABB0-5E07-4FDA-BC98-31E67987D5C7}" dt="2020-08-13T16:54:50.058" v="25" actId="47"/>
        <pc:sldMkLst>
          <pc:docMk/>
          <pc:sldMk cId="2437193686" sldId="3415"/>
        </pc:sldMkLst>
      </pc:sldChg>
      <pc:sldChg chg="del">
        <pc:chgData name="Robert Hokin" userId="716caab2-0991-4278-8ec6-0588b66ef10d" providerId="ADAL" clId="{3136ABB0-5E07-4FDA-BC98-31E67987D5C7}" dt="2020-08-13T16:54:51.519" v="26" actId="47"/>
        <pc:sldMkLst>
          <pc:docMk/>
          <pc:sldMk cId="3552563058" sldId="3416"/>
        </pc:sldMkLst>
      </pc:sldChg>
      <pc:sldChg chg="del">
        <pc:chgData name="Robert Hokin" userId="716caab2-0991-4278-8ec6-0588b66ef10d" providerId="ADAL" clId="{3136ABB0-5E07-4FDA-BC98-31E67987D5C7}" dt="2020-08-13T16:54:53.060" v="27" actId="47"/>
        <pc:sldMkLst>
          <pc:docMk/>
          <pc:sldMk cId="1958588211" sldId="3417"/>
        </pc:sldMkLst>
      </pc:sldChg>
      <pc:sldChg chg="del">
        <pc:chgData name="Robert Hokin" userId="716caab2-0991-4278-8ec6-0588b66ef10d" providerId="ADAL" clId="{3136ABB0-5E07-4FDA-BC98-31E67987D5C7}" dt="2020-08-13T16:54:54.533" v="28" actId="47"/>
        <pc:sldMkLst>
          <pc:docMk/>
          <pc:sldMk cId="2001416296" sldId="3418"/>
        </pc:sldMkLst>
      </pc:sldChg>
      <pc:sldChg chg="del">
        <pc:chgData name="Robert Hokin" userId="716caab2-0991-4278-8ec6-0588b66ef10d" providerId="ADAL" clId="{3136ABB0-5E07-4FDA-BC98-31E67987D5C7}" dt="2020-08-13T16:54:55.169" v="29" actId="47"/>
        <pc:sldMkLst>
          <pc:docMk/>
          <pc:sldMk cId="766618726" sldId="3419"/>
        </pc:sldMkLst>
      </pc:sldChg>
      <pc:sldChg chg="del">
        <pc:chgData name="Robert Hokin" userId="716caab2-0991-4278-8ec6-0588b66ef10d" providerId="ADAL" clId="{3136ABB0-5E07-4FDA-BC98-31E67987D5C7}" dt="2020-08-13T16:54:56.445" v="30" actId="47"/>
        <pc:sldMkLst>
          <pc:docMk/>
          <pc:sldMk cId="3114242970" sldId="3420"/>
        </pc:sldMkLst>
      </pc:sldChg>
      <pc:sldChg chg="del">
        <pc:chgData name="Robert Hokin" userId="716caab2-0991-4278-8ec6-0588b66ef10d" providerId="ADAL" clId="{3136ABB0-5E07-4FDA-BC98-31E67987D5C7}" dt="2020-08-13T16:54:57.269" v="31" actId="47"/>
        <pc:sldMkLst>
          <pc:docMk/>
          <pc:sldMk cId="1763419251" sldId="3421"/>
        </pc:sldMkLst>
      </pc:sldChg>
      <pc:sldChg chg="del">
        <pc:chgData name="Robert Hokin" userId="716caab2-0991-4278-8ec6-0588b66ef10d" providerId="ADAL" clId="{3136ABB0-5E07-4FDA-BC98-31E67987D5C7}" dt="2020-08-13T16:56:37.545" v="110" actId="47"/>
        <pc:sldMkLst>
          <pc:docMk/>
          <pc:sldMk cId="276084812" sldId="3422"/>
        </pc:sldMkLst>
      </pc:sldChg>
      <pc:sldChg chg="del">
        <pc:chgData name="Robert Hokin" userId="716caab2-0991-4278-8ec6-0588b66ef10d" providerId="ADAL" clId="{3136ABB0-5E07-4FDA-BC98-31E67987D5C7}" dt="2020-08-13T16:56:39.403" v="111" actId="47"/>
        <pc:sldMkLst>
          <pc:docMk/>
          <pc:sldMk cId="2640165044" sldId="3423"/>
        </pc:sldMkLst>
      </pc:sldChg>
      <pc:sldChg chg="del">
        <pc:chgData name="Robert Hokin" userId="716caab2-0991-4278-8ec6-0588b66ef10d" providerId="ADAL" clId="{3136ABB0-5E07-4FDA-BC98-31E67987D5C7}" dt="2020-08-13T16:56:40.034" v="112" actId="47"/>
        <pc:sldMkLst>
          <pc:docMk/>
          <pc:sldMk cId="4220804437" sldId="3424"/>
        </pc:sldMkLst>
      </pc:sldChg>
      <pc:sldChg chg="del">
        <pc:chgData name="Robert Hokin" userId="716caab2-0991-4278-8ec6-0588b66ef10d" providerId="ADAL" clId="{3136ABB0-5E07-4FDA-BC98-31E67987D5C7}" dt="2020-08-13T16:56:40.396" v="113" actId="47"/>
        <pc:sldMkLst>
          <pc:docMk/>
          <pc:sldMk cId="370367579" sldId="3425"/>
        </pc:sldMkLst>
      </pc:sldChg>
      <pc:sldChg chg="del">
        <pc:chgData name="Robert Hokin" userId="716caab2-0991-4278-8ec6-0588b66ef10d" providerId="ADAL" clId="{3136ABB0-5E07-4FDA-BC98-31E67987D5C7}" dt="2020-08-13T16:56:40.660" v="114" actId="47"/>
        <pc:sldMkLst>
          <pc:docMk/>
          <pc:sldMk cId="172298524" sldId="3426"/>
        </pc:sldMkLst>
      </pc:sldChg>
      <pc:sldChg chg="del">
        <pc:chgData name="Robert Hokin" userId="716caab2-0991-4278-8ec6-0588b66ef10d" providerId="ADAL" clId="{3136ABB0-5E07-4FDA-BC98-31E67987D5C7}" dt="2020-08-13T16:56:40.883" v="115" actId="47"/>
        <pc:sldMkLst>
          <pc:docMk/>
          <pc:sldMk cId="2903114808" sldId="3427"/>
        </pc:sldMkLst>
      </pc:sldChg>
      <pc:sldChg chg="del">
        <pc:chgData name="Robert Hokin" userId="716caab2-0991-4278-8ec6-0588b66ef10d" providerId="ADAL" clId="{3136ABB0-5E07-4FDA-BC98-31E67987D5C7}" dt="2020-08-13T16:56:41.128" v="116" actId="47"/>
        <pc:sldMkLst>
          <pc:docMk/>
          <pc:sldMk cId="1532833531" sldId="3428"/>
        </pc:sldMkLst>
      </pc:sldChg>
      <pc:sldChg chg="del">
        <pc:chgData name="Robert Hokin" userId="716caab2-0991-4278-8ec6-0588b66ef10d" providerId="ADAL" clId="{3136ABB0-5E07-4FDA-BC98-31E67987D5C7}" dt="2020-08-13T16:56:41.339" v="117" actId="47"/>
        <pc:sldMkLst>
          <pc:docMk/>
          <pc:sldMk cId="3713222839" sldId="3429"/>
        </pc:sldMkLst>
      </pc:sldChg>
      <pc:sldChg chg="del">
        <pc:chgData name="Robert Hokin" userId="716caab2-0991-4278-8ec6-0588b66ef10d" providerId="ADAL" clId="{3136ABB0-5E07-4FDA-BC98-31E67987D5C7}" dt="2020-08-13T16:56:41.608" v="118" actId="47"/>
        <pc:sldMkLst>
          <pc:docMk/>
          <pc:sldMk cId="1386271439" sldId="3430"/>
        </pc:sldMkLst>
      </pc:sldChg>
      <pc:sldChg chg="del">
        <pc:chgData name="Robert Hokin" userId="716caab2-0991-4278-8ec6-0588b66ef10d" providerId="ADAL" clId="{3136ABB0-5E07-4FDA-BC98-31E67987D5C7}" dt="2020-08-13T16:56:41.794" v="119" actId="47"/>
        <pc:sldMkLst>
          <pc:docMk/>
          <pc:sldMk cId="439776509" sldId="3431"/>
        </pc:sldMkLst>
      </pc:sldChg>
      <pc:sldChg chg="del">
        <pc:chgData name="Robert Hokin" userId="716caab2-0991-4278-8ec6-0588b66ef10d" providerId="ADAL" clId="{3136ABB0-5E07-4FDA-BC98-31E67987D5C7}" dt="2020-08-13T16:56:42.078" v="120" actId="47"/>
        <pc:sldMkLst>
          <pc:docMk/>
          <pc:sldMk cId="1056766184" sldId="3432"/>
        </pc:sldMkLst>
      </pc:sldChg>
      <pc:sldChg chg="del">
        <pc:chgData name="Robert Hokin" userId="716caab2-0991-4278-8ec6-0588b66ef10d" providerId="ADAL" clId="{3136ABB0-5E07-4FDA-BC98-31E67987D5C7}" dt="2020-08-13T16:56:42.227" v="121" actId="47"/>
        <pc:sldMkLst>
          <pc:docMk/>
          <pc:sldMk cId="3667205122" sldId="3433"/>
        </pc:sldMkLst>
      </pc:sldChg>
      <pc:sldChg chg="del">
        <pc:chgData name="Robert Hokin" userId="716caab2-0991-4278-8ec6-0588b66ef10d" providerId="ADAL" clId="{3136ABB0-5E07-4FDA-BC98-31E67987D5C7}" dt="2020-08-13T16:56:42.465" v="122" actId="47"/>
        <pc:sldMkLst>
          <pc:docMk/>
          <pc:sldMk cId="3355008702" sldId="3434"/>
        </pc:sldMkLst>
      </pc:sldChg>
      <pc:sldChg chg="del">
        <pc:chgData name="Robert Hokin" userId="716caab2-0991-4278-8ec6-0588b66ef10d" providerId="ADAL" clId="{3136ABB0-5E07-4FDA-BC98-31E67987D5C7}" dt="2020-08-13T16:56:42.675" v="123" actId="47"/>
        <pc:sldMkLst>
          <pc:docMk/>
          <pc:sldMk cId="3296465120" sldId="3435"/>
        </pc:sldMkLst>
      </pc:sldChg>
      <pc:sldChg chg="del">
        <pc:chgData name="Robert Hokin" userId="716caab2-0991-4278-8ec6-0588b66ef10d" providerId="ADAL" clId="{3136ABB0-5E07-4FDA-BC98-31E67987D5C7}" dt="2020-08-13T16:56:42.930" v="124" actId="47"/>
        <pc:sldMkLst>
          <pc:docMk/>
          <pc:sldMk cId="1225382241" sldId="3436"/>
        </pc:sldMkLst>
      </pc:sldChg>
      <pc:sldChg chg="del">
        <pc:chgData name="Robert Hokin" userId="716caab2-0991-4278-8ec6-0588b66ef10d" providerId="ADAL" clId="{3136ABB0-5E07-4FDA-BC98-31E67987D5C7}" dt="2020-08-13T16:55:00.653" v="34" actId="47"/>
        <pc:sldMkLst>
          <pc:docMk/>
          <pc:sldMk cId="965744406" sldId="3437"/>
        </pc:sldMkLst>
      </pc:sldChg>
      <pc:sldChg chg="del">
        <pc:chgData name="Robert Hokin" userId="716caab2-0991-4278-8ec6-0588b66ef10d" providerId="ADAL" clId="{3136ABB0-5E07-4FDA-BC98-31E67987D5C7}" dt="2020-08-13T16:55:01.786" v="36" actId="47"/>
        <pc:sldMkLst>
          <pc:docMk/>
          <pc:sldMk cId="55495599" sldId="3438"/>
        </pc:sldMkLst>
      </pc:sldChg>
      <pc:sldChg chg="del">
        <pc:chgData name="Robert Hokin" userId="716caab2-0991-4278-8ec6-0588b66ef10d" providerId="ADAL" clId="{3136ABB0-5E07-4FDA-BC98-31E67987D5C7}" dt="2020-08-13T16:55:02.610" v="38" actId="47"/>
        <pc:sldMkLst>
          <pc:docMk/>
          <pc:sldMk cId="1427663801" sldId="3439"/>
        </pc:sldMkLst>
      </pc:sldChg>
      <pc:sldChg chg="del">
        <pc:chgData name="Robert Hokin" userId="716caab2-0991-4278-8ec6-0588b66ef10d" providerId="ADAL" clId="{3136ABB0-5E07-4FDA-BC98-31E67987D5C7}" dt="2020-08-13T16:55:03.191" v="39" actId="47"/>
        <pc:sldMkLst>
          <pc:docMk/>
          <pc:sldMk cId="667882615" sldId="3440"/>
        </pc:sldMkLst>
      </pc:sldChg>
      <pc:sldChg chg="del">
        <pc:chgData name="Robert Hokin" userId="716caab2-0991-4278-8ec6-0588b66ef10d" providerId="ADAL" clId="{3136ABB0-5E07-4FDA-BC98-31E67987D5C7}" dt="2020-08-13T16:55:03.823" v="40" actId="47"/>
        <pc:sldMkLst>
          <pc:docMk/>
          <pc:sldMk cId="958933922" sldId="3441"/>
        </pc:sldMkLst>
      </pc:sldChg>
      <pc:sldChg chg="del">
        <pc:chgData name="Robert Hokin" userId="716caab2-0991-4278-8ec6-0588b66ef10d" providerId="ADAL" clId="{3136ABB0-5E07-4FDA-BC98-31E67987D5C7}" dt="2020-08-13T16:55:04.412" v="41" actId="47"/>
        <pc:sldMkLst>
          <pc:docMk/>
          <pc:sldMk cId="1945031779" sldId="3442"/>
        </pc:sldMkLst>
      </pc:sldChg>
      <pc:sldChg chg="del">
        <pc:chgData name="Robert Hokin" userId="716caab2-0991-4278-8ec6-0588b66ef10d" providerId="ADAL" clId="{3136ABB0-5E07-4FDA-BC98-31E67987D5C7}" dt="2020-08-13T16:55:04.910" v="42" actId="47"/>
        <pc:sldMkLst>
          <pc:docMk/>
          <pc:sldMk cId="3334601907" sldId="3443"/>
        </pc:sldMkLst>
      </pc:sldChg>
      <pc:sldChg chg="del">
        <pc:chgData name="Robert Hokin" userId="716caab2-0991-4278-8ec6-0588b66ef10d" providerId="ADAL" clId="{3136ABB0-5E07-4FDA-BC98-31E67987D5C7}" dt="2020-08-13T16:55:05.440" v="43" actId="47"/>
        <pc:sldMkLst>
          <pc:docMk/>
          <pc:sldMk cId="150463417" sldId="3444"/>
        </pc:sldMkLst>
      </pc:sldChg>
      <pc:sldChg chg="del">
        <pc:chgData name="Robert Hokin" userId="716caab2-0991-4278-8ec6-0588b66ef10d" providerId="ADAL" clId="{3136ABB0-5E07-4FDA-BC98-31E67987D5C7}" dt="2020-08-13T16:55:06.200" v="44" actId="47"/>
        <pc:sldMkLst>
          <pc:docMk/>
          <pc:sldMk cId="2018206659" sldId="3445"/>
        </pc:sldMkLst>
      </pc:sldChg>
      <pc:sldChg chg="del">
        <pc:chgData name="Robert Hokin" userId="716caab2-0991-4278-8ec6-0588b66ef10d" providerId="ADAL" clId="{3136ABB0-5E07-4FDA-BC98-31E67987D5C7}" dt="2020-08-13T16:55:06.225" v="45" actId="47"/>
        <pc:sldMkLst>
          <pc:docMk/>
          <pc:sldMk cId="2800903226" sldId="3446"/>
        </pc:sldMkLst>
      </pc:sldChg>
      <pc:sldChg chg="del">
        <pc:chgData name="Robert Hokin" userId="716caab2-0991-4278-8ec6-0588b66ef10d" providerId="ADAL" clId="{3136ABB0-5E07-4FDA-BC98-31E67987D5C7}" dt="2020-08-13T16:55:06.819" v="46" actId="47"/>
        <pc:sldMkLst>
          <pc:docMk/>
          <pc:sldMk cId="519837027" sldId="3447"/>
        </pc:sldMkLst>
      </pc:sldChg>
      <pc:sldChg chg="del">
        <pc:chgData name="Robert Hokin" userId="716caab2-0991-4278-8ec6-0588b66ef10d" providerId="ADAL" clId="{3136ABB0-5E07-4FDA-BC98-31E67987D5C7}" dt="2020-08-13T16:55:07.603" v="47" actId="47"/>
        <pc:sldMkLst>
          <pc:docMk/>
          <pc:sldMk cId="2063801142" sldId="3448"/>
        </pc:sldMkLst>
      </pc:sldChg>
      <pc:sldChg chg="del">
        <pc:chgData name="Robert Hokin" userId="716caab2-0991-4278-8ec6-0588b66ef10d" providerId="ADAL" clId="{3136ABB0-5E07-4FDA-BC98-31E67987D5C7}" dt="2020-08-13T16:57:51.827" v="199" actId="47"/>
        <pc:sldMkLst>
          <pc:docMk/>
          <pc:sldMk cId="528193751" sldId="3449"/>
        </pc:sldMkLst>
      </pc:sldChg>
      <pc:sldMasterChg chg="delSldLayout">
        <pc:chgData name="Robert Hokin" userId="716caab2-0991-4278-8ec6-0588b66ef10d" providerId="ADAL" clId="{3136ABB0-5E07-4FDA-BC98-31E67987D5C7}" dt="2020-08-13T16:57:50.283" v="198" actId="47"/>
        <pc:sldMasterMkLst>
          <pc:docMk/>
          <pc:sldMasterMk cId="947121024" sldId="2147484073"/>
        </pc:sldMasterMkLst>
        <pc:sldLayoutChg chg="del">
          <pc:chgData name="Robert Hokin" userId="716caab2-0991-4278-8ec6-0588b66ef10d" providerId="ADAL" clId="{3136ABB0-5E07-4FDA-BC98-31E67987D5C7}" dt="2020-08-13T16:53:01.986" v="1" actId="47"/>
          <pc:sldLayoutMkLst>
            <pc:docMk/>
            <pc:sldMasterMk cId="947121024" sldId="2147484073"/>
            <pc:sldLayoutMk cId="194374799" sldId="2147484085"/>
          </pc:sldLayoutMkLst>
        </pc:sldLayoutChg>
        <pc:sldLayoutChg chg="del">
          <pc:chgData name="Robert Hokin" userId="716caab2-0991-4278-8ec6-0588b66ef10d" providerId="ADAL" clId="{3136ABB0-5E07-4FDA-BC98-31E67987D5C7}" dt="2020-08-13T16:53:20.674" v="3" actId="47"/>
          <pc:sldLayoutMkLst>
            <pc:docMk/>
            <pc:sldMasterMk cId="947121024" sldId="2147484073"/>
            <pc:sldLayoutMk cId="478883020" sldId="2147484088"/>
          </pc:sldLayoutMkLst>
        </pc:sldLayoutChg>
        <pc:sldLayoutChg chg="del">
          <pc:chgData name="Robert Hokin" userId="716caab2-0991-4278-8ec6-0588b66ef10d" providerId="ADAL" clId="{3136ABB0-5E07-4FDA-BC98-31E67987D5C7}" dt="2020-08-13T16:57:50.283" v="198" actId="47"/>
          <pc:sldLayoutMkLst>
            <pc:docMk/>
            <pc:sldMasterMk cId="947121024" sldId="2147484073"/>
            <pc:sldLayoutMk cId="1786139901" sldId="2147484089"/>
          </pc:sldLayoutMkLst>
        </pc:sldLayoutChg>
      </pc:sldMasterChg>
      <pc:sldMasterChg chg="del delSldLayout">
        <pc:chgData name="Robert Hokin" userId="716caab2-0991-4278-8ec6-0588b66ef10d" providerId="ADAL" clId="{3136ABB0-5E07-4FDA-BC98-31E67987D5C7}" dt="2020-08-13T16:57:21.029" v="189" actId="47"/>
        <pc:sldMasterMkLst>
          <pc:docMk/>
          <pc:sldMasterMk cId="3453426874" sldId="2147484090"/>
        </pc:sldMasterMkLst>
        <pc:sldLayoutChg chg="del">
          <pc:chgData name="Robert Hokin" userId="716caab2-0991-4278-8ec6-0588b66ef10d" providerId="ADAL" clId="{3136ABB0-5E07-4FDA-BC98-31E67987D5C7}" dt="2020-08-13T16:57:16.024" v="184" actId="47"/>
          <pc:sldLayoutMkLst>
            <pc:docMk/>
            <pc:sldMasterMk cId="3453426874" sldId="2147484090"/>
            <pc:sldLayoutMk cId="3984394528" sldId="2147484091"/>
          </pc:sldLayoutMkLst>
        </pc:sldLayoutChg>
        <pc:sldLayoutChg chg="del">
          <pc:chgData name="Robert Hokin" userId="716caab2-0991-4278-8ec6-0588b66ef10d" providerId="ADAL" clId="{3136ABB0-5E07-4FDA-BC98-31E67987D5C7}" dt="2020-08-13T16:57:21.029" v="189" actId="47"/>
          <pc:sldLayoutMkLst>
            <pc:docMk/>
            <pc:sldMasterMk cId="3453426874" sldId="2147484090"/>
            <pc:sldLayoutMk cId="1227185468" sldId="2147484092"/>
          </pc:sldLayoutMkLst>
        </pc:sldLayoutChg>
        <pc:sldLayoutChg chg="del">
          <pc:chgData name="Robert Hokin" userId="716caab2-0991-4278-8ec6-0588b66ef10d" providerId="ADAL" clId="{3136ABB0-5E07-4FDA-BC98-31E67987D5C7}" dt="2020-08-13T16:57:21.029" v="189" actId="47"/>
          <pc:sldLayoutMkLst>
            <pc:docMk/>
            <pc:sldMasterMk cId="3453426874" sldId="2147484090"/>
            <pc:sldLayoutMk cId="245476351" sldId="2147484093"/>
          </pc:sldLayoutMkLst>
        </pc:sldLayoutChg>
        <pc:sldLayoutChg chg="del">
          <pc:chgData name="Robert Hokin" userId="716caab2-0991-4278-8ec6-0588b66ef10d" providerId="ADAL" clId="{3136ABB0-5E07-4FDA-BC98-31E67987D5C7}" dt="2020-08-13T16:57:21.029" v="189" actId="47"/>
          <pc:sldLayoutMkLst>
            <pc:docMk/>
            <pc:sldMasterMk cId="3453426874" sldId="2147484090"/>
            <pc:sldLayoutMk cId="2875154361" sldId="2147484094"/>
          </pc:sldLayoutMkLst>
        </pc:sldLayoutChg>
        <pc:sldLayoutChg chg="del">
          <pc:chgData name="Robert Hokin" userId="716caab2-0991-4278-8ec6-0588b66ef10d" providerId="ADAL" clId="{3136ABB0-5E07-4FDA-BC98-31E67987D5C7}" dt="2020-08-13T16:57:21.029" v="189" actId="47"/>
          <pc:sldLayoutMkLst>
            <pc:docMk/>
            <pc:sldMasterMk cId="3453426874" sldId="2147484090"/>
            <pc:sldLayoutMk cId="983999467" sldId="2147484095"/>
          </pc:sldLayoutMkLst>
        </pc:sldLayoutChg>
        <pc:sldLayoutChg chg="del">
          <pc:chgData name="Robert Hokin" userId="716caab2-0991-4278-8ec6-0588b66ef10d" providerId="ADAL" clId="{3136ABB0-5E07-4FDA-BC98-31E67987D5C7}" dt="2020-08-13T16:57:21.029" v="189" actId="47"/>
          <pc:sldLayoutMkLst>
            <pc:docMk/>
            <pc:sldMasterMk cId="3453426874" sldId="2147484090"/>
            <pc:sldLayoutMk cId="4057821232" sldId="2147484096"/>
          </pc:sldLayoutMkLst>
        </pc:sldLayoutChg>
        <pc:sldLayoutChg chg="del">
          <pc:chgData name="Robert Hokin" userId="716caab2-0991-4278-8ec6-0588b66ef10d" providerId="ADAL" clId="{3136ABB0-5E07-4FDA-BC98-31E67987D5C7}" dt="2020-08-13T16:57:21.029" v="189" actId="47"/>
          <pc:sldLayoutMkLst>
            <pc:docMk/>
            <pc:sldMasterMk cId="3453426874" sldId="2147484090"/>
            <pc:sldLayoutMk cId="1522610768" sldId="2147484097"/>
          </pc:sldLayoutMkLst>
        </pc:sldLayoutChg>
        <pc:sldLayoutChg chg="del">
          <pc:chgData name="Robert Hokin" userId="716caab2-0991-4278-8ec6-0588b66ef10d" providerId="ADAL" clId="{3136ABB0-5E07-4FDA-BC98-31E67987D5C7}" dt="2020-08-13T16:57:21.029" v="189" actId="47"/>
          <pc:sldLayoutMkLst>
            <pc:docMk/>
            <pc:sldMasterMk cId="3453426874" sldId="2147484090"/>
            <pc:sldLayoutMk cId="148428939" sldId="2147484098"/>
          </pc:sldLayoutMkLst>
        </pc:sldLayoutChg>
        <pc:sldLayoutChg chg="del">
          <pc:chgData name="Robert Hokin" userId="716caab2-0991-4278-8ec6-0588b66ef10d" providerId="ADAL" clId="{3136ABB0-5E07-4FDA-BC98-31E67987D5C7}" dt="2020-08-13T16:57:21.029" v="189" actId="47"/>
          <pc:sldLayoutMkLst>
            <pc:docMk/>
            <pc:sldMasterMk cId="3453426874" sldId="2147484090"/>
            <pc:sldLayoutMk cId="2039257611" sldId="2147484099"/>
          </pc:sldLayoutMkLst>
        </pc:sldLayoutChg>
        <pc:sldLayoutChg chg="del">
          <pc:chgData name="Robert Hokin" userId="716caab2-0991-4278-8ec6-0588b66ef10d" providerId="ADAL" clId="{3136ABB0-5E07-4FDA-BC98-31E67987D5C7}" dt="2020-08-13T16:57:21.029" v="189" actId="47"/>
          <pc:sldLayoutMkLst>
            <pc:docMk/>
            <pc:sldMasterMk cId="3453426874" sldId="2147484090"/>
            <pc:sldLayoutMk cId="367670710" sldId="2147484100"/>
          </pc:sldLayoutMkLst>
        </pc:sldLayoutChg>
        <pc:sldLayoutChg chg="del">
          <pc:chgData name="Robert Hokin" userId="716caab2-0991-4278-8ec6-0588b66ef10d" providerId="ADAL" clId="{3136ABB0-5E07-4FDA-BC98-31E67987D5C7}" dt="2020-08-13T16:57:21.029" v="189" actId="47"/>
          <pc:sldLayoutMkLst>
            <pc:docMk/>
            <pc:sldMasterMk cId="3453426874" sldId="2147484090"/>
            <pc:sldLayoutMk cId="2661809517" sldId="2147484101"/>
          </pc:sldLayoutMkLst>
        </pc:sldLayoutChg>
        <pc:sldLayoutChg chg="del">
          <pc:chgData name="Robert Hokin" userId="716caab2-0991-4278-8ec6-0588b66ef10d" providerId="ADAL" clId="{3136ABB0-5E07-4FDA-BC98-31E67987D5C7}" dt="2020-08-13T16:57:21.029" v="189" actId="47"/>
          <pc:sldLayoutMkLst>
            <pc:docMk/>
            <pc:sldMasterMk cId="3453426874" sldId="2147484090"/>
            <pc:sldLayoutMk cId="3803172444" sldId="2147484114"/>
          </pc:sldLayoutMkLst>
        </pc:sldLayoutChg>
      </pc:sldMasterChg>
      <pc:sldMasterChg chg="del delSldLayout">
        <pc:chgData name="Robert Hokin" userId="716caab2-0991-4278-8ec6-0588b66ef10d" providerId="ADAL" clId="{3136ABB0-5E07-4FDA-BC98-31E67987D5C7}" dt="2020-08-13T16:57:22.513" v="190" actId="47"/>
        <pc:sldMasterMkLst>
          <pc:docMk/>
          <pc:sldMasterMk cId="1831088886" sldId="2147484102"/>
        </pc:sldMasterMkLst>
        <pc:sldLayoutChg chg="del">
          <pc:chgData name="Robert Hokin" userId="716caab2-0991-4278-8ec6-0588b66ef10d" providerId="ADAL" clId="{3136ABB0-5E07-4FDA-BC98-31E67987D5C7}" dt="2020-08-13T16:57:22.513" v="190" actId="47"/>
          <pc:sldLayoutMkLst>
            <pc:docMk/>
            <pc:sldMasterMk cId="1831088886" sldId="2147484102"/>
            <pc:sldLayoutMk cId="2561466610" sldId="2147484103"/>
          </pc:sldLayoutMkLst>
        </pc:sldLayoutChg>
        <pc:sldLayoutChg chg="del">
          <pc:chgData name="Robert Hokin" userId="716caab2-0991-4278-8ec6-0588b66ef10d" providerId="ADAL" clId="{3136ABB0-5E07-4FDA-BC98-31E67987D5C7}" dt="2020-08-13T16:57:22.513" v="190" actId="47"/>
          <pc:sldLayoutMkLst>
            <pc:docMk/>
            <pc:sldMasterMk cId="1831088886" sldId="2147484102"/>
            <pc:sldLayoutMk cId="1331689964" sldId="2147484104"/>
          </pc:sldLayoutMkLst>
        </pc:sldLayoutChg>
        <pc:sldLayoutChg chg="del">
          <pc:chgData name="Robert Hokin" userId="716caab2-0991-4278-8ec6-0588b66ef10d" providerId="ADAL" clId="{3136ABB0-5E07-4FDA-BC98-31E67987D5C7}" dt="2020-08-13T16:57:22.513" v="190" actId="47"/>
          <pc:sldLayoutMkLst>
            <pc:docMk/>
            <pc:sldMasterMk cId="1831088886" sldId="2147484102"/>
            <pc:sldLayoutMk cId="941972139" sldId="2147484105"/>
          </pc:sldLayoutMkLst>
        </pc:sldLayoutChg>
        <pc:sldLayoutChg chg="del">
          <pc:chgData name="Robert Hokin" userId="716caab2-0991-4278-8ec6-0588b66ef10d" providerId="ADAL" clId="{3136ABB0-5E07-4FDA-BC98-31E67987D5C7}" dt="2020-08-13T16:57:22.513" v="190" actId="47"/>
          <pc:sldLayoutMkLst>
            <pc:docMk/>
            <pc:sldMasterMk cId="1831088886" sldId="2147484102"/>
            <pc:sldLayoutMk cId="2903396203" sldId="2147484106"/>
          </pc:sldLayoutMkLst>
        </pc:sldLayoutChg>
        <pc:sldLayoutChg chg="del">
          <pc:chgData name="Robert Hokin" userId="716caab2-0991-4278-8ec6-0588b66ef10d" providerId="ADAL" clId="{3136ABB0-5E07-4FDA-BC98-31E67987D5C7}" dt="2020-08-13T16:57:22.513" v="190" actId="47"/>
          <pc:sldLayoutMkLst>
            <pc:docMk/>
            <pc:sldMasterMk cId="1831088886" sldId="2147484102"/>
            <pc:sldLayoutMk cId="696044252" sldId="2147484107"/>
          </pc:sldLayoutMkLst>
        </pc:sldLayoutChg>
        <pc:sldLayoutChg chg="del">
          <pc:chgData name="Robert Hokin" userId="716caab2-0991-4278-8ec6-0588b66ef10d" providerId="ADAL" clId="{3136ABB0-5E07-4FDA-BC98-31E67987D5C7}" dt="2020-08-13T16:57:22.513" v="190" actId="47"/>
          <pc:sldLayoutMkLst>
            <pc:docMk/>
            <pc:sldMasterMk cId="1831088886" sldId="2147484102"/>
            <pc:sldLayoutMk cId="2491535618" sldId="2147484108"/>
          </pc:sldLayoutMkLst>
        </pc:sldLayoutChg>
        <pc:sldLayoutChg chg="del">
          <pc:chgData name="Robert Hokin" userId="716caab2-0991-4278-8ec6-0588b66ef10d" providerId="ADAL" clId="{3136ABB0-5E07-4FDA-BC98-31E67987D5C7}" dt="2020-08-13T16:57:22.513" v="190" actId="47"/>
          <pc:sldLayoutMkLst>
            <pc:docMk/>
            <pc:sldMasterMk cId="1831088886" sldId="2147484102"/>
            <pc:sldLayoutMk cId="3087869701" sldId="2147484109"/>
          </pc:sldLayoutMkLst>
        </pc:sldLayoutChg>
        <pc:sldLayoutChg chg="del">
          <pc:chgData name="Robert Hokin" userId="716caab2-0991-4278-8ec6-0588b66ef10d" providerId="ADAL" clId="{3136ABB0-5E07-4FDA-BC98-31E67987D5C7}" dt="2020-08-13T16:57:22.513" v="190" actId="47"/>
          <pc:sldLayoutMkLst>
            <pc:docMk/>
            <pc:sldMasterMk cId="1831088886" sldId="2147484102"/>
            <pc:sldLayoutMk cId="3164490358" sldId="2147484110"/>
          </pc:sldLayoutMkLst>
        </pc:sldLayoutChg>
        <pc:sldLayoutChg chg="del">
          <pc:chgData name="Robert Hokin" userId="716caab2-0991-4278-8ec6-0588b66ef10d" providerId="ADAL" clId="{3136ABB0-5E07-4FDA-BC98-31E67987D5C7}" dt="2020-08-13T16:57:22.513" v="190" actId="47"/>
          <pc:sldLayoutMkLst>
            <pc:docMk/>
            <pc:sldMasterMk cId="1831088886" sldId="2147484102"/>
            <pc:sldLayoutMk cId="4167593984" sldId="2147484111"/>
          </pc:sldLayoutMkLst>
        </pc:sldLayoutChg>
        <pc:sldLayoutChg chg="del">
          <pc:chgData name="Robert Hokin" userId="716caab2-0991-4278-8ec6-0588b66ef10d" providerId="ADAL" clId="{3136ABB0-5E07-4FDA-BC98-31E67987D5C7}" dt="2020-08-13T16:57:22.513" v="190" actId="47"/>
          <pc:sldLayoutMkLst>
            <pc:docMk/>
            <pc:sldMasterMk cId="1831088886" sldId="2147484102"/>
            <pc:sldLayoutMk cId="2890962540" sldId="2147484112"/>
          </pc:sldLayoutMkLst>
        </pc:sldLayoutChg>
        <pc:sldLayoutChg chg="del">
          <pc:chgData name="Robert Hokin" userId="716caab2-0991-4278-8ec6-0588b66ef10d" providerId="ADAL" clId="{3136ABB0-5E07-4FDA-BC98-31E67987D5C7}" dt="2020-08-13T16:57:22.513" v="190" actId="47"/>
          <pc:sldLayoutMkLst>
            <pc:docMk/>
            <pc:sldMasterMk cId="1831088886" sldId="2147484102"/>
            <pc:sldLayoutMk cId="2557985881" sldId="2147484113"/>
          </pc:sldLayoutMkLst>
        </pc:sldLayoutChg>
      </pc:sldMasterChg>
      <pc:sldMasterChg chg="del delSldLayout">
        <pc:chgData name="Robert Hokin" userId="716caab2-0991-4278-8ec6-0588b66ef10d" providerId="ADAL" clId="{3136ABB0-5E07-4FDA-BC98-31E67987D5C7}" dt="2020-08-13T16:56:42.930" v="124" actId="47"/>
        <pc:sldMasterMkLst>
          <pc:docMk/>
          <pc:sldMasterMk cId="1310553920" sldId="2147484127"/>
        </pc:sldMasterMkLst>
        <pc:sldLayoutChg chg="del">
          <pc:chgData name="Robert Hokin" userId="716caab2-0991-4278-8ec6-0588b66ef10d" providerId="ADAL" clId="{3136ABB0-5E07-4FDA-BC98-31E67987D5C7}" dt="2020-08-13T16:56:42.930" v="124" actId="47"/>
          <pc:sldLayoutMkLst>
            <pc:docMk/>
            <pc:sldMasterMk cId="1310553920" sldId="2147484127"/>
            <pc:sldLayoutMk cId="2486945178" sldId="2147484128"/>
          </pc:sldLayoutMkLst>
        </pc:sldLayoutChg>
        <pc:sldLayoutChg chg="del">
          <pc:chgData name="Robert Hokin" userId="716caab2-0991-4278-8ec6-0588b66ef10d" providerId="ADAL" clId="{3136ABB0-5E07-4FDA-BC98-31E67987D5C7}" dt="2020-08-13T16:56:42.930" v="124" actId="47"/>
          <pc:sldLayoutMkLst>
            <pc:docMk/>
            <pc:sldMasterMk cId="1310553920" sldId="2147484127"/>
            <pc:sldLayoutMk cId="319808944" sldId="2147484129"/>
          </pc:sldLayoutMkLst>
        </pc:sldLayoutChg>
        <pc:sldLayoutChg chg="del">
          <pc:chgData name="Robert Hokin" userId="716caab2-0991-4278-8ec6-0588b66ef10d" providerId="ADAL" clId="{3136ABB0-5E07-4FDA-BC98-31E67987D5C7}" dt="2020-08-13T16:56:42.930" v="124" actId="47"/>
          <pc:sldLayoutMkLst>
            <pc:docMk/>
            <pc:sldMasterMk cId="1310553920" sldId="2147484127"/>
            <pc:sldLayoutMk cId="1798858087" sldId="2147484130"/>
          </pc:sldLayoutMkLst>
        </pc:sldLayoutChg>
        <pc:sldLayoutChg chg="del">
          <pc:chgData name="Robert Hokin" userId="716caab2-0991-4278-8ec6-0588b66ef10d" providerId="ADAL" clId="{3136ABB0-5E07-4FDA-BC98-31E67987D5C7}" dt="2020-08-13T16:56:42.930" v="124" actId="47"/>
          <pc:sldLayoutMkLst>
            <pc:docMk/>
            <pc:sldMasterMk cId="1310553920" sldId="2147484127"/>
            <pc:sldLayoutMk cId="894198603" sldId="2147484131"/>
          </pc:sldLayoutMkLst>
        </pc:sldLayoutChg>
        <pc:sldLayoutChg chg="del">
          <pc:chgData name="Robert Hokin" userId="716caab2-0991-4278-8ec6-0588b66ef10d" providerId="ADAL" clId="{3136ABB0-5E07-4FDA-BC98-31E67987D5C7}" dt="2020-08-13T16:56:42.930" v="124" actId="47"/>
          <pc:sldLayoutMkLst>
            <pc:docMk/>
            <pc:sldMasterMk cId="1310553920" sldId="2147484127"/>
            <pc:sldLayoutMk cId="1608145030" sldId="2147484132"/>
          </pc:sldLayoutMkLst>
        </pc:sldLayoutChg>
        <pc:sldLayoutChg chg="del">
          <pc:chgData name="Robert Hokin" userId="716caab2-0991-4278-8ec6-0588b66ef10d" providerId="ADAL" clId="{3136ABB0-5E07-4FDA-BC98-31E67987D5C7}" dt="2020-08-13T16:56:42.930" v="124" actId="47"/>
          <pc:sldLayoutMkLst>
            <pc:docMk/>
            <pc:sldMasterMk cId="1310553920" sldId="2147484127"/>
            <pc:sldLayoutMk cId="3162934220" sldId="2147484133"/>
          </pc:sldLayoutMkLst>
        </pc:sldLayoutChg>
        <pc:sldLayoutChg chg="del">
          <pc:chgData name="Robert Hokin" userId="716caab2-0991-4278-8ec6-0588b66ef10d" providerId="ADAL" clId="{3136ABB0-5E07-4FDA-BC98-31E67987D5C7}" dt="2020-08-13T16:56:42.930" v="124" actId="47"/>
          <pc:sldLayoutMkLst>
            <pc:docMk/>
            <pc:sldMasterMk cId="1310553920" sldId="2147484127"/>
            <pc:sldLayoutMk cId="2168416383" sldId="2147484134"/>
          </pc:sldLayoutMkLst>
        </pc:sldLayoutChg>
        <pc:sldLayoutChg chg="del">
          <pc:chgData name="Robert Hokin" userId="716caab2-0991-4278-8ec6-0588b66ef10d" providerId="ADAL" clId="{3136ABB0-5E07-4FDA-BC98-31E67987D5C7}" dt="2020-08-13T16:56:42.930" v="124" actId="47"/>
          <pc:sldLayoutMkLst>
            <pc:docMk/>
            <pc:sldMasterMk cId="1310553920" sldId="2147484127"/>
            <pc:sldLayoutMk cId="1120983227" sldId="2147484135"/>
          </pc:sldLayoutMkLst>
        </pc:sldLayoutChg>
      </pc:sldMasterChg>
      <pc:sldMasterChg chg="del delSldLayout">
        <pc:chgData name="Robert Hokin" userId="716caab2-0991-4278-8ec6-0588b66ef10d" providerId="ADAL" clId="{3136ABB0-5E07-4FDA-BC98-31E67987D5C7}" dt="2020-08-13T16:57:11.225" v="176" actId="47"/>
        <pc:sldMasterMkLst>
          <pc:docMk/>
          <pc:sldMasterMk cId="2055594213" sldId="2147484149"/>
        </pc:sldMasterMkLst>
        <pc:sldLayoutChg chg="del">
          <pc:chgData name="Robert Hokin" userId="716caab2-0991-4278-8ec6-0588b66ef10d" providerId="ADAL" clId="{3136ABB0-5E07-4FDA-BC98-31E67987D5C7}" dt="2020-08-13T16:57:11.225" v="176" actId="47"/>
          <pc:sldLayoutMkLst>
            <pc:docMk/>
            <pc:sldMasterMk cId="2055594213" sldId="2147484149"/>
            <pc:sldLayoutMk cId="3663827904" sldId="2147484150"/>
          </pc:sldLayoutMkLst>
        </pc:sldLayoutChg>
        <pc:sldLayoutChg chg="del">
          <pc:chgData name="Robert Hokin" userId="716caab2-0991-4278-8ec6-0588b66ef10d" providerId="ADAL" clId="{3136ABB0-5E07-4FDA-BC98-31E67987D5C7}" dt="2020-08-13T16:57:11.225" v="176" actId="47"/>
          <pc:sldLayoutMkLst>
            <pc:docMk/>
            <pc:sldMasterMk cId="2055594213" sldId="2147484149"/>
            <pc:sldLayoutMk cId="664918215" sldId="2147484151"/>
          </pc:sldLayoutMkLst>
        </pc:sldLayoutChg>
        <pc:sldLayoutChg chg="del">
          <pc:chgData name="Robert Hokin" userId="716caab2-0991-4278-8ec6-0588b66ef10d" providerId="ADAL" clId="{3136ABB0-5E07-4FDA-BC98-31E67987D5C7}" dt="2020-08-13T16:57:11.225" v="176" actId="47"/>
          <pc:sldLayoutMkLst>
            <pc:docMk/>
            <pc:sldMasterMk cId="2055594213" sldId="2147484149"/>
            <pc:sldLayoutMk cId="1674992500" sldId="2147484152"/>
          </pc:sldLayoutMkLst>
        </pc:sldLayoutChg>
        <pc:sldLayoutChg chg="del">
          <pc:chgData name="Robert Hokin" userId="716caab2-0991-4278-8ec6-0588b66ef10d" providerId="ADAL" clId="{3136ABB0-5E07-4FDA-BC98-31E67987D5C7}" dt="2020-08-13T16:57:11.225" v="176" actId="47"/>
          <pc:sldLayoutMkLst>
            <pc:docMk/>
            <pc:sldMasterMk cId="2055594213" sldId="2147484149"/>
            <pc:sldLayoutMk cId="2179849681" sldId="2147484153"/>
          </pc:sldLayoutMkLst>
        </pc:sldLayoutChg>
        <pc:sldLayoutChg chg="del">
          <pc:chgData name="Robert Hokin" userId="716caab2-0991-4278-8ec6-0588b66ef10d" providerId="ADAL" clId="{3136ABB0-5E07-4FDA-BC98-31E67987D5C7}" dt="2020-08-13T16:57:11.225" v="176" actId="47"/>
          <pc:sldLayoutMkLst>
            <pc:docMk/>
            <pc:sldMasterMk cId="2055594213" sldId="2147484149"/>
            <pc:sldLayoutMk cId="2252683091" sldId="2147484154"/>
          </pc:sldLayoutMkLst>
        </pc:sldLayoutChg>
      </pc:sldMasterChg>
      <pc:sldMasterChg chg="del delSldLayout">
        <pc:chgData name="Robert Hokin" userId="716caab2-0991-4278-8ec6-0588b66ef10d" providerId="ADAL" clId="{3136ABB0-5E07-4FDA-BC98-31E67987D5C7}" dt="2020-08-13T16:57:11.092" v="173" actId="47"/>
        <pc:sldMasterMkLst>
          <pc:docMk/>
          <pc:sldMasterMk cId="654089690" sldId="2147484155"/>
        </pc:sldMasterMkLst>
        <pc:sldLayoutChg chg="del">
          <pc:chgData name="Robert Hokin" userId="716caab2-0991-4278-8ec6-0588b66ef10d" providerId="ADAL" clId="{3136ABB0-5E07-4FDA-BC98-31E67987D5C7}" dt="2020-08-13T16:57:11.092" v="173" actId="47"/>
          <pc:sldLayoutMkLst>
            <pc:docMk/>
            <pc:sldMasterMk cId="654089690" sldId="2147484155"/>
            <pc:sldLayoutMk cId="3589977267" sldId="2147484156"/>
          </pc:sldLayoutMkLst>
        </pc:sldLayoutChg>
        <pc:sldLayoutChg chg="del">
          <pc:chgData name="Robert Hokin" userId="716caab2-0991-4278-8ec6-0588b66ef10d" providerId="ADAL" clId="{3136ABB0-5E07-4FDA-BC98-31E67987D5C7}" dt="2020-08-13T16:57:11.092" v="173" actId="47"/>
          <pc:sldLayoutMkLst>
            <pc:docMk/>
            <pc:sldMasterMk cId="654089690" sldId="2147484155"/>
            <pc:sldLayoutMk cId="1505031170" sldId="2147484157"/>
          </pc:sldLayoutMkLst>
        </pc:sldLayoutChg>
        <pc:sldLayoutChg chg="del">
          <pc:chgData name="Robert Hokin" userId="716caab2-0991-4278-8ec6-0588b66ef10d" providerId="ADAL" clId="{3136ABB0-5E07-4FDA-BC98-31E67987D5C7}" dt="2020-08-13T16:57:11.092" v="173" actId="47"/>
          <pc:sldLayoutMkLst>
            <pc:docMk/>
            <pc:sldMasterMk cId="654089690" sldId="2147484155"/>
            <pc:sldLayoutMk cId="1770272288" sldId="2147484158"/>
          </pc:sldLayoutMkLst>
        </pc:sldLayoutChg>
        <pc:sldLayoutChg chg="del">
          <pc:chgData name="Robert Hokin" userId="716caab2-0991-4278-8ec6-0588b66ef10d" providerId="ADAL" clId="{3136ABB0-5E07-4FDA-BC98-31E67987D5C7}" dt="2020-08-13T16:57:11.092" v="173" actId="47"/>
          <pc:sldLayoutMkLst>
            <pc:docMk/>
            <pc:sldMasterMk cId="654089690" sldId="2147484155"/>
            <pc:sldLayoutMk cId="396159197" sldId="2147484159"/>
          </pc:sldLayoutMkLst>
        </pc:sldLayoutChg>
        <pc:sldLayoutChg chg="del">
          <pc:chgData name="Robert Hokin" userId="716caab2-0991-4278-8ec6-0588b66ef10d" providerId="ADAL" clId="{3136ABB0-5E07-4FDA-BC98-31E67987D5C7}" dt="2020-08-13T16:57:11.092" v="173" actId="47"/>
          <pc:sldLayoutMkLst>
            <pc:docMk/>
            <pc:sldMasterMk cId="654089690" sldId="2147484155"/>
            <pc:sldLayoutMk cId="4064141407" sldId="2147484160"/>
          </pc:sldLayoutMkLst>
        </pc:sldLayoutChg>
      </pc:sldMasterChg>
      <pc:sldMasterChg chg="delSldLayout">
        <pc:chgData name="Robert Hokin" userId="716caab2-0991-4278-8ec6-0588b66ef10d" providerId="ADAL" clId="{3136ABB0-5E07-4FDA-BC98-31E67987D5C7}" dt="2020-08-13T16:57:45.917" v="195" actId="47"/>
        <pc:sldMasterMkLst>
          <pc:docMk/>
          <pc:sldMasterMk cId="1938162146" sldId="2147484161"/>
        </pc:sldMasterMkLst>
        <pc:sldLayoutChg chg="del">
          <pc:chgData name="Robert Hokin" userId="716caab2-0991-4278-8ec6-0588b66ef10d" providerId="ADAL" clId="{3136ABB0-5E07-4FDA-BC98-31E67987D5C7}" dt="2020-08-13T16:57:40.389" v="194" actId="47"/>
          <pc:sldLayoutMkLst>
            <pc:docMk/>
            <pc:sldMasterMk cId="1938162146" sldId="2147484161"/>
            <pc:sldLayoutMk cId="2791538325" sldId="2147484190"/>
          </pc:sldLayoutMkLst>
        </pc:sldLayoutChg>
        <pc:sldLayoutChg chg="del">
          <pc:chgData name="Robert Hokin" userId="716caab2-0991-4278-8ec6-0588b66ef10d" providerId="ADAL" clId="{3136ABB0-5E07-4FDA-BC98-31E67987D5C7}" dt="2020-08-13T16:57:45.917" v="195" actId="47"/>
          <pc:sldLayoutMkLst>
            <pc:docMk/>
            <pc:sldMasterMk cId="1938162146" sldId="2147484161"/>
            <pc:sldLayoutMk cId="1040596502" sldId="2147484191"/>
          </pc:sldLayoutMkLst>
        </pc:sldLayoutChg>
      </pc:sldMasterChg>
      <pc:sldMasterChg chg="del delSldLayout">
        <pc:chgData name="Robert Hokin" userId="716caab2-0991-4278-8ec6-0588b66ef10d" providerId="ADAL" clId="{3136ABB0-5E07-4FDA-BC98-31E67987D5C7}" dt="2020-08-13T16:55:12.250" v="59" actId="47"/>
        <pc:sldMasterMkLst>
          <pc:docMk/>
          <pc:sldMasterMk cId="163368553" sldId="2147484192"/>
        </pc:sldMasterMkLst>
        <pc:sldLayoutChg chg="del">
          <pc:chgData name="Robert Hokin" userId="716caab2-0991-4278-8ec6-0588b66ef10d" providerId="ADAL" clId="{3136ABB0-5E07-4FDA-BC98-31E67987D5C7}" dt="2020-08-13T16:55:12.250" v="59" actId="47"/>
          <pc:sldLayoutMkLst>
            <pc:docMk/>
            <pc:sldMasterMk cId="163368553" sldId="2147484192"/>
            <pc:sldLayoutMk cId="3402221052" sldId="2147484193"/>
          </pc:sldLayoutMkLst>
        </pc:sldLayoutChg>
        <pc:sldLayoutChg chg="del">
          <pc:chgData name="Robert Hokin" userId="716caab2-0991-4278-8ec6-0588b66ef10d" providerId="ADAL" clId="{3136ABB0-5E07-4FDA-BC98-31E67987D5C7}" dt="2020-08-13T16:55:12.250" v="59" actId="47"/>
          <pc:sldLayoutMkLst>
            <pc:docMk/>
            <pc:sldMasterMk cId="163368553" sldId="2147484192"/>
            <pc:sldLayoutMk cId="4152469550" sldId="2147484194"/>
          </pc:sldLayoutMkLst>
        </pc:sldLayoutChg>
        <pc:sldLayoutChg chg="del">
          <pc:chgData name="Robert Hokin" userId="716caab2-0991-4278-8ec6-0588b66ef10d" providerId="ADAL" clId="{3136ABB0-5E07-4FDA-BC98-31E67987D5C7}" dt="2020-08-13T16:55:12.250" v="59" actId="47"/>
          <pc:sldLayoutMkLst>
            <pc:docMk/>
            <pc:sldMasterMk cId="163368553" sldId="2147484192"/>
            <pc:sldLayoutMk cId="3211455109" sldId="2147484195"/>
          </pc:sldLayoutMkLst>
        </pc:sldLayoutChg>
        <pc:sldLayoutChg chg="del">
          <pc:chgData name="Robert Hokin" userId="716caab2-0991-4278-8ec6-0588b66ef10d" providerId="ADAL" clId="{3136ABB0-5E07-4FDA-BC98-31E67987D5C7}" dt="2020-08-13T16:55:12.250" v="59" actId="47"/>
          <pc:sldLayoutMkLst>
            <pc:docMk/>
            <pc:sldMasterMk cId="163368553" sldId="2147484192"/>
            <pc:sldLayoutMk cId="2421535820" sldId="2147484196"/>
          </pc:sldLayoutMkLst>
        </pc:sldLayoutChg>
        <pc:sldLayoutChg chg="del">
          <pc:chgData name="Robert Hokin" userId="716caab2-0991-4278-8ec6-0588b66ef10d" providerId="ADAL" clId="{3136ABB0-5E07-4FDA-BC98-31E67987D5C7}" dt="2020-08-13T16:55:12.250" v="59" actId="47"/>
          <pc:sldLayoutMkLst>
            <pc:docMk/>
            <pc:sldMasterMk cId="163368553" sldId="2147484192"/>
            <pc:sldLayoutMk cId="3462946433" sldId="2147484197"/>
          </pc:sldLayoutMkLst>
        </pc:sldLayoutChg>
        <pc:sldLayoutChg chg="del">
          <pc:chgData name="Robert Hokin" userId="716caab2-0991-4278-8ec6-0588b66ef10d" providerId="ADAL" clId="{3136ABB0-5E07-4FDA-BC98-31E67987D5C7}" dt="2020-08-13T16:55:12.250" v="59" actId="47"/>
          <pc:sldLayoutMkLst>
            <pc:docMk/>
            <pc:sldMasterMk cId="163368553" sldId="2147484192"/>
            <pc:sldLayoutMk cId="2529525819" sldId="2147484198"/>
          </pc:sldLayoutMkLst>
        </pc:sldLayoutChg>
        <pc:sldLayoutChg chg="del">
          <pc:chgData name="Robert Hokin" userId="716caab2-0991-4278-8ec6-0588b66ef10d" providerId="ADAL" clId="{3136ABB0-5E07-4FDA-BC98-31E67987D5C7}" dt="2020-08-13T16:55:12.250" v="59" actId="47"/>
          <pc:sldLayoutMkLst>
            <pc:docMk/>
            <pc:sldMasterMk cId="163368553" sldId="2147484192"/>
            <pc:sldLayoutMk cId="3786611573" sldId="2147484199"/>
          </pc:sldLayoutMkLst>
        </pc:sldLayoutChg>
        <pc:sldLayoutChg chg="del">
          <pc:chgData name="Robert Hokin" userId="716caab2-0991-4278-8ec6-0588b66ef10d" providerId="ADAL" clId="{3136ABB0-5E07-4FDA-BC98-31E67987D5C7}" dt="2020-08-13T16:55:12.250" v="59" actId="47"/>
          <pc:sldLayoutMkLst>
            <pc:docMk/>
            <pc:sldMasterMk cId="163368553" sldId="2147484192"/>
            <pc:sldLayoutMk cId="3855166414" sldId="2147484200"/>
          </pc:sldLayoutMkLst>
        </pc:sldLayoutChg>
        <pc:sldLayoutChg chg="del">
          <pc:chgData name="Robert Hokin" userId="716caab2-0991-4278-8ec6-0588b66ef10d" providerId="ADAL" clId="{3136ABB0-5E07-4FDA-BC98-31E67987D5C7}" dt="2020-08-13T16:55:12.250" v="59" actId="47"/>
          <pc:sldLayoutMkLst>
            <pc:docMk/>
            <pc:sldMasterMk cId="163368553" sldId="2147484192"/>
            <pc:sldLayoutMk cId="2522166179" sldId="2147484201"/>
          </pc:sldLayoutMkLst>
        </pc:sldLayoutChg>
        <pc:sldLayoutChg chg="del">
          <pc:chgData name="Robert Hokin" userId="716caab2-0991-4278-8ec6-0588b66ef10d" providerId="ADAL" clId="{3136ABB0-5E07-4FDA-BC98-31E67987D5C7}" dt="2020-08-13T16:55:12.250" v="59" actId="47"/>
          <pc:sldLayoutMkLst>
            <pc:docMk/>
            <pc:sldMasterMk cId="163368553" sldId="2147484192"/>
            <pc:sldLayoutMk cId="3711672693" sldId="2147484202"/>
          </pc:sldLayoutMkLst>
        </pc:sldLayoutChg>
        <pc:sldLayoutChg chg="del">
          <pc:chgData name="Robert Hokin" userId="716caab2-0991-4278-8ec6-0588b66ef10d" providerId="ADAL" clId="{3136ABB0-5E07-4FDA-BC98-31E67987D5C7}" dt="2020-08-13T16:55:12.250" v="59" actId="47"/>
          <pc:sldLayoutMkLst>
            <pc:docMk/>
            <pc:sldMasterMk cId="163368553" sldId="2147484192"/>
            <pc:sldLayoutMk cId="1793803996" sldId="2147484203"/>
          </pc:sldLayoutMkLst>
        </pc:sldLayoutChg>
        <pc:sldLayoutChg chg="del">
          <pc:chgData name="Robert Hokin" userId="716caab2-0991-4278-8ec6-0588b66ef10d" providerId="ADAL" clId="{3136ABB0-5E07-4FDA-BC98-31E67987D5C7}" dt="2020-08-13T16:55:12.250" v="59" actId="47"/>
          <pc:sldLayoutMkLst>
            <pc:docMk/>
            <pc:sldMasterMk cId="163368553" sldId="2147484192"/>
            <pc:sldLayoutMk cId="1855255400" sldId="2147484204"/>
          </pc:sldLayoutMkLst>
        </pc:sldLayoutChg>
      </pc:sldMasterChg>
      <pc:sldMasterChg chg="del delSldLayout">
        <pc:chgData name="Robert Hokin" userId="716caab2-0991-4278-8ec6-0588b66ef10d" providerId="ADAL" clId="{3136ABB0-5E07-4FDA-BC98-31E67987D5C7}" dt="2020-08-13T16:56:37.428" v="107" actId="47"/>
        <pc:sldMasterMkLst>
          <pc:docMk/>
          <pc:sldMasterMk cId="2163986829" sldId="2147484205"/>
        </pc:sldMasterMkLst>
        <pc:sldLayoutChg chg="del">
          <pc:chgData name="Robert Hokin" userId="716caab2-0991-4278-8ec6-0588b66ef10d" providerId="ADAL" clId="{3136ABB0-5E07-4FDA-BC98-31E67987D5C7}" dt="2020-08-13T16:56:37.428" v="107" actId="47"/>
          <pc:sldLayoutMkLst>
            <pc:docMk/>
            <pc:sldMasterMk cId="2163986829" sldId="2147484205"/>
            <pc:sldLayoutMk cId="1190867486" sldId="2147484206"/>
          </pc:sldLayoutMkLst>
        </pc:sldLayoutChg>
        <pc:sldLayoutChg chg="del">
          <pc:chgData name="Robert Hokin" userId="716caab2-0991-4278-8ec6-0588b66ef10d" providerId="ADAL" clId="{3136ABB0-5E07-4FDA-BC98-31E67987D5C7}" dt="2020-08-13T16:56:37.428" v="107" actId="47"/>
          <pc:sldLayoutMkLst>
            <pc:docMk/>
            <pc:sldMasterMk cId="2163986829" sldId="2147484205"/>
            <pc:sldLayoutMk cId="4095710538" sldId="2147484207"/>
          </pc:sldLayoutMkLst>
        </pc:sldLayoutChg>
        <pc:sldLayoutChg chg="del">
          <pc:chgData name="Robert Hokin" userId="716caab2-0991-4278-8ec6-0588b66ef10d" providerId="ADAL" clId="{3136ABB0-5E07-4FDA-BC98-31E67987D5C7}" dt="2020-08-13T16:56:37.428" v="107" actId="47"/>
          <pc:sldLayoutMkLst>
            <pc:docMk/>
            <pc:sldMasterMk cId="2163986829" sldId="2147484205"/>
            <pc:sldLayoutMk cId="398719974" sldId="2147484208"/>
          </pc:sldLayoutMkLst>
        </pc:sldLayoutChg>
        <pc:sldLayoutChg chg="del">
          <pc:chgData name="Robert Hokin" userId="716caab2-0991-4278-8ec6-0588b66ef10d" providerId="ADAL" clId="{3136ABB0-5E07-4FDA-BC98-31E67987D5C7}" dt="2020-08-13T16:56:37.428" v="107" actId="47"/>
          <pc:sldLayoutMkLst>
            <pc:docMk/>
            <pc:sldMasterMk cId="2163986829" sldId="2147484205"/>
            <pc:sldLayoutMk cId="1985136944" sldId="2147484209"/>
          </pc:sldLayoutMkLst>
        </pc:sldLayoutChg>
        <pc:sldLayoutChg chg="del">
          <pc:chgData name="Robert Hokin" userId="716caab2-0991-4278-8ec6-0588b66ef10d" providerId="ADAL" clId="{3136ABB0-5E07-4FDA-BC98-31E67987D5C7}" dt="2020-08-13T16:56:37.428" v="107" actId="47"/>
          <pc:sldLayoutMkLst>
            <pc:docMk/>
            <pc:sldMasterMk cId="2163986829" sldId="2147484205"/>
            <pc:sldLayoutMk cId="1441243699" sldId="2147484210"/>
          </pc:sldLayoutMkLst>
        </pc:sldLayoutChg>
        <pc:sldLayoutChg chg="del">
          <pc:chgData name="Robert Hokin" userId="716caab2-0991-4278-8ec6-0588b66ef10d" providerId="ADAL" clId="{3136ABB0-5E07-4FDA-BC98-31E67987D5C7}" dt="2020-08-13T16:56:37.428" v="107" actId="47"/>
          <pc:sldLayoutMkLst>
            <pc:docMk/>
            <pc:sldMasterMk cId="2163986829" sldId="2147484205"/>
            <pc:sldLayoutMk cId="3729243106" sldId="2147484211"/>
          </pc:sldLayoutMkLst>
        </pc:sldLayoutChg>
        <pc:sldLayoutChg chg="del">
          <pc:chgData name="Robert Hokin" userId="716caab2-0991-4278-8ec6-0588b66ef10d" providerId="ADAL" clId="{3136ABB0-5E07-4FDA-BC98-31E67987D5C7}" dt="2020-08-13T16:56:37.428" v="107" actId="47"/>
          <pc:sldLayoutMkLst>
            <pc:docMk/>
            <pc:sldMasterMk cId="2163986829" sldId="2147484205"/>
            <pc:sldLayoutMk cId="509057635" sldId="2147484212"/>
          </pc:sldLayoutMkLst>
        </pc:sldLayoutChg>
        <pc:sldLayoutChg chg="del">
          <pc:chgData name="Robert Hokin" userId="716caab2-0991-4278-8ec6-0588b66ef10d" providerId="ADAL" clId="{3136ABB0-5E07-4FDA-BC98-31E67987D5C7}" dt="2020-08-13T16:56:37.428" v="107" actId="47"/>
          <pc:sldLayoutMkLst>
            <pc:docMk/>
            <pc:sldMasterMk cId="2163986829" sldId="2147484205"/>
            <pc:sldLayoutMk cId="1283067615" sldId="2147484213"/>
          </pc:sldLayoutMkLst>
        </pc:sldLayoutChg>
        <pc:sldLayoutChg chg="del">
          <pc:chgData name="Robert Hokin" userId="716caab2-0991-4278-8ec6-0588b66ef10d" providerId="ADAL" clId="{3136ABB0-5E07-4FDA-BC98-31E67987D5C7}" dt="2020-08-13T16:56:37.428" v="107" actId="47"/>
          <pc:sldLayoutMkLst>
            <pc:docMk/>
            <pc:sldMasterMk cId="2163986829" sldId="2147484205"/>
            <pc:sldLayoutMk cId="1014564708" sldId="2147484214"/>
          </pc:sldLayoutMkLst>
        </pc:sldLayoutChg>
        <pc:sldLayoutChg chg="del">
          <pc:chgData name="Robert Hokin" userId="716caab2-0991-4278-8ec6-0588b66ef10d" providerId="ADAL" clId="{3136ABB0-5E07-4FDA-BC98-31E67987D5C7}" dt="2020-08-13T16:56:37.428" v="107" actId="47"/>
          <pc:sldLayoutMkLst>
            <pc:docMk/>
            <pc:sldMasterMk cId="2163986829" sldId="2147484205"/>
            <pc:sldLayoutMk cId="2126910071" sldId="2147484215"/>
          </pc:sldLayoutMkLst>
        </pc:sldLayoutChg>
        <pc:sldLayoutChg chg="del">
          <pc:chgData name="Robert Hokin" userId="716caab2-0991-4278-8ec6-0588b66ef10d" providerId="ADAL" clId="{3136ABB0-5E07-4FDA-BC98-31E67987D5C7}" dt="2020-08-13T16:56:37.428" v="107" actId="47"/>
          <pc:sldLayoutMkLst>
            <pc:docMk/>
            <pc:sldMasterMk cId="2163986829" sldId="2147484205"/>
            <pc:sldLayoutMk cId="4190155590" sldId="2147484216"/>
          </pc:sldLayoutMkLst>
        </pc:sldLayoutChg>
        <pc:sldLayoutChg chg="del">
          <pc:chgData name="Robert Hokin" userId="716caab2-0991-4278-8ec6-0588b66ef10d" providerId="ADAL" clId="{3136ABB0-5E07-4FDA-BC98-31E67987D5C7}" dt="2020-08-13T16:56:37.428" v="107" actId="47"/>
          <pc:sldLayoutMkLst>
            <pc:docMk/>
            <pc:sldMasterMk cId="2163986829" sldId="2147484205"/>
            <pc:sldLayoutMk cId="1352290577" sldId="2147484217"/>
          </pc:sldLayoutMkLst>
        </pc:sldLayoutChg>
      </pc:sldMasterChg>
      <pc:sldMasterChg chg="del delSldLayout">
        <pc:chgData name="Robert Hokin" userId="716caab2-0991-4278-8ec6-0588b66ef10d" providerId="ADAL" clId="{3136ABB0-5E07-4FDA-BC98-31E67987D5C7}" dt="2020-08-13T16:54:57.269" v="31" actId="47"/>
        <pc:sldMasterMkLst>
          <pc:docMk/>
          <pc:sldMasterMk cId="1764851651" sldId="2147484230"/>
        </pc:sldMasterMkLst>
        <pc:sldLayoutChg chg="del">
          <pc:chgData name="Robert Hokin" userId="716caab2-0991-4278-8ec6-0588b66ef10d" providerId="ADAL" clId="{3136ABB0-5E07-4FDA-BC98-31E67987D5C7}" dt="2020-08-13T16:54:57.269" v="31" actId="47"/>
          <pc:sldLayoutMkLst>
            <pc:docMk/>
            <pc:sldMasterMk cId="1764851651" sldId="2147484230"/>
            <pc:sldLayoutMk cId="2273787065" sldId="2147484231"/>
          </pc:sldLayoutMkLst>
        </pc:sldLayoutChg>
        <pc:sldLayoutChg chg="del">
          <pc:chgData name="Robert Hokin" userId="716caab2-0991-4278-8ec6-0588b66ef10d" providerId="ADAL" clId="{3136ABB0-5E07-4FDA-BC98-31E67987D5C7}" dt="2020-08-13T16:54:57.269" v="31" actId="47"/>
          <pc:sldLayoutMkLst>
            <pc:docMk/>
            <pc:sldMasterMk cId="1764851651" sldId="2147484230"/>
            <pc:sldLayoutMk cId="1230123070" sldId="2147484232"/>
          </pc:sldLayoutMkLst>
        </pc:sldLayoutChg>
        <pc:sldLayoutChg chg="del">
          <pc:chgData name="Robert Hokin" userId="716caab2-0991-4278-8ec6-0588b66ef10d" providerId="ADAL" clId="{3136ABB0-5E07-4FDA-BC98-31E67987D5C7}" dt="2020-08-13T16:54:57.269" v="31" actId="47"/>
          <pc:sldLayoutMkLst>
            <pc:docMk/>
            <pc:sldMasterMk cId="1764851651" sldId="2147484230"/>
            <pc:sldLayoutMk cId="3110277577" sldId="2147484233"/>
          </pc:sldLayoutMkLst>
        </pc:sldLayoutChg>
        <pc:sldLayoutChg chg="del">
          <pc:chgData name="Robert Hokin" userId="716caab2-0991-4278-8ec6-0588b66ef10d" providerId="ADAL" clId="{3136ABB0-5E07-4FDA-BC98-31E67987D5C7}" dt="2020-08-13T16:54:57.269" v="31" actId="47"/>
          <pc:sldLayoutMkLst>
            <pc:docMk/>
            <pc:sldMasterMk cId="1764851651" sldId="2147484230"/>
            <pc:sldLayoutMk cId="3033089212" sldId="2147484234"/>
          </pc:sldLayoutMkLst>
        </pc:sldLayoutChg>
        <pc:sldLayoutChg chg="del">
          <pc:chgData name="Robert Hokin" userId="716caab2-0991-4278-8ec6-0588b66ef10d" providerId="ADAL" clId="{3136ABB0-5E07-4FDA-BC98-31E67987D5C7}" dt="2020-08-13T16:54:57.269" v="31" actId="47"/>
          <pc:sldLayoutMkLst>
            <pc:docMk/>
            <pc:sldMasterMk cId="1764851651" sldId="2147484230"/>
            <pc:sldLayoutMk cId="1290225041" sldId="2147484235"/>
          </pc:sldLayoutMkLst>
        </pc:sldLayoutChg>
        <pc:sldLayoutChg chg="del">
          <pc:chgData name="Robert Hokin" userId="716caab2-0991-4278-8ec6-0588b66ef10d" providerId="ADAL" clId="{3136ABB0-5E07-4FDA-BC98-31E67987D5C7}" dt="2020-08-13T16:54:57.269" v="31" actId="47"/>
          <pc:sldLayoutMkLst>
            <pc:docMk/>
            <pc:sldMasterMk cId="1764851651" sldId="2147484230"/>
            <pc:sldLayoutMk cId="2391199986" sldId="2147484236"/>
          </pc:sldLayoutMkLst>
        </pc:sldLayoutChg>
        <pc:sldLayoutChg chg="del">
          <pc:chgData name="Robert Hokin" userId="716caab2-0991-4278-8ec6-0588b66ef10d" providerId="ADAL" clId="{3136ABB0-5E07-4FDA-BC98-31E67987D5C7}" dt="2020-08-13T16:54:57.269" v="31" actId="47"/>
          <pc:sldLayoutMkLst>
            <pc:docMk/>
            <pc:sldMasterMk cId="1764851651" sldId="2147484230"/>
            <pc:sldLayoutMk cId="3855349720" sldId="2147484237"/>
          </pc:sldLayoutMkLst>
        </pc:sldLayoutChg>
        <pc:sldLayoutChg chg="del">
          <pc:chgData name="Robert Hokin" userId="716caab2-0991-4278-8ec6-0588b66ef10d" providerId="ADAL" clId="{3136ABB0-5E07-4FDA-BC98-31E67987D5C7}" dt="2020-08-13T16:54:57.269" v="31" actId="47"/>
          <pc:sldLayoutMkLst>
            <pc:docMk/>
            <pc:sldMasterMk cId="1764851651" sldId="2147484230"/>
            <pc:sldLayoutMk cId="1956208408" sldId="2147484238"/>
          </pc:sldLayoutMkLst>
        </pc:sldLayoutChg>
        <pc:sldLayoutChg chg="del">
          <pc:chgData name="Robert Hokin" userId="716caab2-0991-4278-8ec6-0588b66ef10d" providerId="ADAL" clId="{3136ABB0-5E07-4FDA-BC98-31E67987D5C7}" dt="2020-08-13T16:54:57.269" v="31" actId="47"/>
          <pc:sldLayoutMkLst>
            <pc:docMk/>
            <pc:sldMasterMk cId="1764851651" sldId="2147484230"/>
            <pc:sldLayoutMk cId="1246510022" sldId="2147484239"/>
          </pc:sldLayoutMkLst>
        </pc:sldLayoutChg>
        <pc:sldLayoutChg chg="del">
          <pc:chgData name="Robert Hokin" userId="716caab2-0991-4278-8ec6-0588b66ef10d" providerId="ADAL" clId="{3136ABB0-5E07-4FDA-BC98-31E67987D5C7}" dt="2020-08-13T16:54:57.269" v="31" actId="47"/>
          <pc:sldLayoutMkLst>
            <pc:docMk/>
            <pc:sldMasterMk cId="1764851651" sldId="2147484230"/>
            <pc:sldLayoutMk cId="2164583911" sldId="2147484240"/>
          </pc:sldLayoutMkLst>
        </pc:sldLayoutChg>
        <pc:sldLayoutChg chg="del">
          <pc:chgData name="Robert Hokin" userId="716caab2-0991-4278-8ec6-0588b66ef10d" providerId="ADAL" clId="{3136ABB0-5E07-4FDA-BC98-31E67987D5C7}" dt="2020-08-13T16:54:57.269" v="31" actId="47"/>
          <pc:sldLayoutMkLst>
            <pc:docMk/>
            <pc:sldMasterMk cId="1764851651" sldId="2147484230"/>
            <pc:sldLayoutMk cId="2508358966" sldId="2147484241"/>
          </pc:sldLayoutMkLst>
        </pc:sldLayoutChg>
        <pc:sldLayoutChg chg="del">
          <pc:chgData name="Robert Hokin" userId="716caab2-0991-4278-8ec6-0588b66ef10d" providerId="ADAL" clId="{3136ABB0-5E07-4FDA-BC98-31E67987D5C7}" dt="2020-08-13T16:54:57.269" v="31" actId="47"/>
          <pc:sldLayoutMkLst>
            <pc:docMk/>
            <pc:sldMasterMk cId="1764851651" sldId="2147484230"/>
            <pc:sldLayoutMk cId="2197036089" sldId="2147484242"/>
          </pc:sldLayoutMkLst>
        </pc:sldLayoutChg>
        <pc:sldLayoutChg chg="del">
          <pc:chgData name="Robert Hokin" userId="716caab2-0991-4278-8ec6-0588b66ef10d" providerId="ADAL" clId="{3136ABB0-5E07-4FDA-BC98-31E67987D5C7}" dt="2020-08-13T16:54:57.269" v="31" actId="47"/>
          <pc:sldLayoutMkLst>
            <pc:docMk/>
            <pc:sldMasterMk cId="1764851651" sldId="2147484230"/>
            <pc:sldLayoutMk cId="2834595962" sldId="2147484243"/>
          </pc:sldLayoutMkLst>
        </pc:sldLayoutChg>
        <pc:sldLayoutChg chg="del">
          <pc:chgData name="Robert Hokin" userId="716caab2-0991-4278-8ec6-0588b66ef10d" providerId="ADAL" clId="{3136ABB0-5E07-4FDA-BC98-31E67987D5C7}" dt="2020-08-13T16:54:57.269" v="31" actId="47"/>
          <pc:sldLayoutMkLst>
            <pc:docMk/>
            <pc:sldMasterMk cId="1764851651" sldId="2147484230"/>
            <pc:sldLayoutMk cId="3588662538" sldId="2147484244"/>
          </pc:sldLayoutMkLst>
        </pc:sldLayoutChg>
        <pc:sldLayoutChg chg="del">
          <pc:chgData name="Robert Hokin" userId="716caab2-0991-4278-8ec6-0588b66ef10d" providerId="ADAL" clId="{3136ABB0-5E07-4FDA-BC98-31E67987D5C7}" dt="2020-08-13T16:54:57.269" v="31" actId="47"/>
          <pc:sldLayoutMkLst>
            <pc:docMk/>
            <pc:sldMasterMk cId="1764851651" sldId="2147484230"/>
            <pc:sldLayoutMk cId="2490088131" sldId="2147484245"/>
          </pc:sldLayoutMkLst>
        </pc:sldLayoutChg>
        <pc:sldLayoutChg chg="del">
          <pc:chgData name="Robert Hokin" userId="716caab2-0991-4278-8ec6-0588b66ef10d" providerId="ADAL" clId="{3136ABB0-5E07-4FDA-BC98-31E67987D5C7}" dt="2020-08-13T16:54:57.269" v="31" actId="47"/>
          <pc:sldLayoutMkLst>
            <pc:docMk/>
            <pc:sldMasterMk cId="1764851651" sldId="2147484230"/>
            <pc:sldLayoutMk cId="630338696" sldId="2147484246"/>
          </pc:sldLayoutMkLst>
        </pc:sldLayoutChg>
        <pc:sldLayoutChg chg="del">
          <pc:chgData name="Robert Hokin" userId="716caab2-0991-4278-8ec6-0588b66ef10d" providerId="ADAL" clId="{3136ABB0-5E07-4FDA-BC98-31E67987D5C7}" dt="2020-08-13T16:54:57.269" v="31" actId="47"/>
          <pc:sldLayoutMkLst>
            <pc:docMk/>
            <pc:sldMasterMk cId="1764851651" sldId="2147484230"/>
            <pc:sldLayoutMk cId="3687904709" sldId="2147484247"/>
          </pc:sldLayoutMkLst>
        </pc:sldLayoutChg>
        <pc:sldLayoutChg chg="del">
          <pc:chgData name="Robert Hokin" userId="716caab2-0991-4278-8ec6-0588b66ef10d" providerId="ADAL" clId="{3136ABB0-5E07-4FDA-BC98-31E67987D5C7}" dt="2020-08-13T16:54:57.269" v="31" actId="47"/>
          <pc:sldLayoutMkLst>
            <pc:docMk/>
            <pc:sldMasterMk cId="1764851651" sldId="2147484230"/>
            <pc:sldLayoutMk cId="4178226371" sldId="2147484248"/>
          </pc:sldLayoutMkLst>
        </pc:sldLayoutChg>
        <pc:sldLayoutChg chg="del">
          <pc:chgData name="Robert Hokin" userId="716caab2-0991-4278-8ec6-0588b66ef10d" providerId="ADAL" clId="{3136ABB0-5E07-4FDA-BC98-31E67987D5C7}" dt="2020-08-13T16:54:53.060" v="27" actId="47"/>
          <pc:sldLayoutMkLst>
            <pc:docMk/>
            <pc:sldMasterMk cId="1764851651" sldId="2147484230"/>
            <pc:sldLayoutMk cId="2994308264" sldId="2147484249"/>
          </pc:sldLayoutMkLst>
        </pc:sldLayoutChg>
      </pc:sldMasterChg>
      <pc:sldMasterChg chg="del delSldLayout">
        <pc:chgData name="Robert Hokin" userId="716caab2-0991-4278-8ec6-0588b66ef10d" providerId="ADAL" clId="{3136ABB0-5E07-4FDA-BC98-31E67987D5C7}" dt="2020-08-13T16:55:15.512" v="74" actId="47"/>
        <pc:sldMasterMkLst>
          <pc:docMk/>
          <pc:sldMasterMk cId="3228762859" sldId="2147484265"/>
        </pc:sldMasterMkLst>
        <pc:sldLayoutChg chg="del">
          <pc:chgData name="Robert Hokin" userId="716caab2-0991-4278-8ec6-0588b66ef10d" providerId="ADAL" clId="{3136ABB0-5E07-4FDA-BC98-31E67987D5C7}" dt="2020-08-13T16:55:15.512" v="74" actId="47"/>
          <pc:sldLayoutMkLst>
            <pc:docMk/>
            <pc:sldMasterMk cId="3228762859" sldId="2147484265"/>
            <pc:sldLayoutMk cId="2272729423" sldId="2147484266"/>
          </pc:sldLayoutMkLst>
        </pc:sldLayoutChg>
        <pc:sldLayoutChg chg="del">
          <pc:chgData name="Robert Hokin" userId="716caab2-0991-4278-8ec6-0588b66ef10d" providerId="ADAL" clId="{3136ABB0-5E07-4FDA-BC98-31E67987D5C7}" dt="2020-08-13T16:55:15.512" v="74" actId="47"/>
          <pc:sldLayoutMkLst>
            <pc:docMk/>
            <pc:sldMasterMk cId="3228762859" sldId="2147484265"/>
            <pc:sldLayoutMk cId="1381158429" sldId="2147484267"/>
          </pc:sldLayoutMkLst>
        </pc:sldLayoutChg>
        <pc:sldLayoutChg chg="del">
          <pc:chgData name="Robert Hokin" userId="716caab2-0991-4278-8ec6-0588b66ef10d" providerId="ADAL" clId="{3136ABB0-5E07-4FDA-BC98-31E67987D5C7}" dt="2020-08-13T16:55:15.512" v="74" actId="47"/>
          <pc:sldLayoutMkLst>
            <pc:docMk/>
            <pc:sldMasterMk cId="3228762859" sldId="2147484265"/>
            <pc:sldLayoutMk cId="3586702967" sldId="2147484268"/>
          </pc:sldLayoutMkLst>
        </pc:sldLayoutChg>
        <pc:sldLayoutChg chg="del">
          <pc:chgData name="Robert Hokin" userId="716caab2-0991-4278-8ec6-0588b66ef10d" providerId="ADAL" clId="{3136ABB0-5E07-4FDA-BC98-31E67987D5C7}" dt="2020-08-13T16:55:15.512" v="74" actId="47"/>
          <pc:sldLayoutMkLst>
            <pc:docMk/>
            <pc:sldMasterMk cId="3228762859" sldId="2147484265"/>
            <pc:sldLayoutMk cId="3453992350" sldId="2147484269"/>
          </pc:sldLayoutMkLst>
        </pc:sldLayoutChg>
        <pc:sldLayoutChg chg="del">
          <pc:chgData name="Robert Hokin" userId="716caab2-0991-4278-8ec6-0588b66ef10d" providerId="ADAL" clId="{3136ABB0-5E07-4FDA-BC98-31E67987D5C7}" dt="2020-08-13T16:55:15.512" v="74" actId="47"/>
          <pc:sldLayoutMkLst>
            <pc:docMk/>
            <pc:sldMasterMk cId="3228762859" sldId="2147484265"/>
            <pc:sldLayoutMk cId="2649280353" sldId="2147484270"/>
          </pc:sldLayoutMkLst>
        </pc:sldLayoutChg>
        <pc:sldLayoutChg chg="del">
          <pc:chgData name="Robert Hokin" userId="716caab2-0991-4278-8ec6-0588b66ef10d" providerId="ADAL" clId="{3136ABB0-5E07-4FDA-BC98-31E67987D5C7}" dt="2020-08-13T16:55:15.512" v="74" actId="47"/>
          <pc:sldLayoutMkLst>
            <pc:docMk/>
            <pc:sldMasterMk cId="3228762859" sldId="2147484265"/>
            <pc:sldLayoutMk cId="504914555" sldId="2147484271"/>
          </pc:sldLayoutMkLst>
        </pc:sldLayoutChg>
        <pc:sldLayoutChg chg="del">
          <pc:chgData name="Robert Hokin" userId="716caab2-0991-4278-8ec6-0588b66ef10d" providerId="ADAL" clId="{3136ABB0-5E07-4FDA-BC98-31E67987D5C7}" dt="2020-08-13T16:55:15.512" v="74" actId="47"/>
          <pc:sldLayoutMkLst>
            <pc:docMk/>
            <pc:sldMasterMk cId="3228762859" sldId="2147484265"/>
            <pc:sldLayoutMk cId="2890121029" sldId="2147484272"/>
          </pc:sldLayoutMkLst>
        </pc:sldLayoutChg>
        <pc:sldLayoutChg chg="del">
          <pc:chgData name="Robert Hokin" userId="716caab2-0991-4278-8ec6-0588b66ef10d" providerId="ADAL" clId="{3136ABB0-5E07-4FDA-BC98-31E67987D5C7}" dt="2020-08-13T16:55:15.512" v="74" actId="47"/>
          <pc:sldLayoutMkLst>
            <pc:docMk/>
            <pc:sldMasterMk cId="3228762859" sldId="2147484265"/>
            <pc:sldLayoutMk cId="1970560526" sldId="2147484273"/>
          </pc:sldLayoutMkLst>
        </pc:sldLayoutChg>
        <pc:sldLayoutChg chg="del">
          <pc:chgData name="Robert Hokin" userId="716caab2-0991-4278-8ec6-0588b66ef10d" providerId="ADAL" clId="{3136ABB0-5E07-4FDA-BC98-31E67987D5C7}" dt="2020-08-13T16:55:15.512" v="74" actId="47"/>
          <pc:sldLayoutMkLst>
            <pc:docMk/>
            <pc:sldMasterMk cId="3228762859" sldId="2147484265"/>
            <pc:sldLayoutMk cId="99463056" sldId="2147484274"/>
          </pc:sldLayoutMkLst>
        </pc:sldLayoutChg>
        <pc:sldLayoutChg chg="del">
          <pc:chgData name="Robert Hokin" userId="716caab2-0991-4278-8ec6-0588b66ef10d" providerId="ADAL" clId="{3136ABB0-5E07-4FDA-BC98-31E67987D5C7}" dt="2020-08-13T16:55:15.512" v="74" actId="47"/>
          <pc:sldLayoutMkLst>
            <pc:docMk/>
            <pc:sldMasterMk cId="3228762859" sldId="2147484265"/>
            <pc:sldLayoutMk cId="1484705996" sldId="2147484275"/>
          </pc:sldLayoutMkLst>
        </pc:sldLayoutChg>
        <pc:sldLayoutChg chg="del">
          <pc:chgData name="Robert Hokin" userId="716caab2-0991-4278-8ec6-0588b66ef10d" providerId="ADAL" clId="{3136ABB0-5E07-4FDA-BC98-31E67987D5C7}" dt="2020-08-13T16:55:15.512" v="74" actId="47"/>
          <pc:sldLayoutMkLst>
            <pc:docMk/>
            <pc:sldMasterMk cId="3228762859" sldId="2147484265"/>
            <pc:sldLayoutMk cId="1022003257" sldId="2147484276"/>
          </pc:sldLayoutMkLst>
        </pc:sldLayoutChg>
        <pc:sldLayoutChg chg="del">
          <pc:chgData name="Robert Hokin" userId="716caab2-0991-4278-8ec6-0588b66ef10d" providerId="ADAL" clId="{3136ABB0-5E07-4FDA-BC98-31E67987D5C7}" dt="2020-08-13T16:55:15.512" v="74" actId="47"/>
          <pc:sldLayoutMkLst>
            <pc:docMk/>
            <pc:sldMasterMk cId="3228762859" sldId="2147484265"/>
            <pc:sldLayoutMk cId="224638593" sldId="2147484277"/>
          </pc:sldLayoutMkLst>
        </pc:sldLayoutChg>
      </pc:sldMasterChg>
      <pc:sldMasterChg chg="del delSldLayout">
        <pc:chgData name="Robert Hokin" userId="716caab2-0991-4278-8ec6-0588b66ef10d" providerId="ADAL" clId="{3136ABB0-5E07-4FDA-BC98-31E67987D5C7}" dt="2020-08-13T16:57:06.834" v="167" actId="47"/>
        <pc:sldMasterMkLst>
          <pc:docMk/>
          <pc:sldMasterMk cId="233432734" sldId="2147484296"/>
        </pc:sldMasterMkLst>
        <pc:sldLayoutChg chg="del">
          <pc:chgData name="Robert Hokin" userId="716caab2-0991-4278-8ec6-0588b66ef10d" providerId="ADAL" clId="{3136ABB0-5E07-4FDA-BC98-31E67987D5C7}" dt="2020-08-13T16:57:06.834" v="167" actId="47"/>
          <pc:sldLayoutMkLst>
            <pc:docMk/>
            <pc:sldMasterMk cId="233432734" sldId="2147484296"/>
            <pc:sldLayoutMk cId="2415043384" sldId="2147484297"/>
          </pc:sldLayoutMkLst>
        </pc:sldLayoutChg>
        <pc:sldLayoutChg chg="del">
          <pc:chgData name="Robert Hokin" userId="716caab2-0991-4278-8ec6-0588b66ef10d" providerId="ADAL" clId="{3136ABB0-5E07-4FDA-BC98-31E67987D5C7}" dt="2020-08-13T16:57:06.834" v="167" actId="47"/>
          <pc:sldLayoutMkLst>
            <pc:docMk/>
            <pc:sldMasterMk cId="233432734" sldId="2147484296"/>
            <pc:sldLayoutMk cId="689760233" sldId="2147484298"/>
          </pc:sldLayoutMkLst>
        </pc:sldLayoutChg>
        <pc:sldLayoutChg chg="del">
          <pc:chgData name="Robert Hokin" userId="716caab2-0991-4278-8ec6-0588b66ef10d" providerId="ADAL" clId="{3136ABB0-5E07-4FDA-BC98-31E67987D5C7}" dt="2020-08-13T16:57:06.834" v="167" actId="47"/>
          <pc:sldLayoutMkLst>
            <pc:docMk/>
            <pc:sldMasterMk cId="233432734" sldId="2147484296"/>
            <pc:sldLayoutMk cId="1644259348" sldId="2147484299"/>
          </pc:sldLayoutMkLst>
        </pc:sldLayoutChg>
        <pc:sldLayoutChg chg="del">
          <pc:chgData name="Robert Hokin" userId="716caab2-0991-4278-8ec6-0588b66ef10d" providerId="ADAL" clId="{3136ABB0-5E07-4FDA-BC98-31E67987D5C7}" dt="2020-08-13T16:57:06.834" v="167" actId="47"/>
          <pc:sldLayoutMkLst>
            <pc:docMk/>
            <pc:sldMasterMk cId="233432734" sldId="2147484296"/>
            <pc:sldLayoutMk cId="3377239054" sldId="2147484300"/>
          </pc:sldLayoutMkLst>
        </pc:sldLayoutChg>
        <pc:sldLayoutChg chg="del">
          <pc:chgData name="Robert Hokin" userId="716caab2-0991-4278-8ec6-0588b66ef10d" providerId="ADAL" clId="{3136ABB0-5E07-4FDA-BC98-31E67987D5C7}" dt="2020-08-13T16:57:06.834" v="167" actId="47"/>
          <pc:sldLayoutMkLst>
            <pc:docMk/>
            <pc:sldMasterMk cId="233432734" sldId="2147484296"/>
            <pc:sldLayoutMk cId="2184694244" sldId="2147484301"/>
          </pc:sldLayoutMkLst>
        </pc:sldLayoutChg>
        <pc:sldLayoutChg chg="del">
          <pc:chgData name="Robert Hokin" userId="716caab2-0991-4278-8ec6-0588b66ef10d" providerId="ADAL" clId="{3136ABB0-5E07-4FDA-BC98-31E67987D5C7}" dt="2020-08-13T16:57:06.834" v="167" actId="47"/>
          <pc:sldLayoutMkLst>
            <pc:docMk/>
            <pc:sldMasterMk cId="233432734" sldId="2147484296"/>
            <pc:sldLayoutMk cId="1516439787" sldId="2147484302"/>
          </pc:sldLayoutMkLst>
        </pc:sldLayoutChg>
        <pc:sldLayoutChg chg="del">
          <pc:chgData name="Robert Hokin" userId="716caab2-0991-4278-8ec6-0588b66ef10d" providerId="ADAL" clId="{3136ABB0-5E07-4FDA-BC98-31E67987D5C7}" dt="2020-08-13T16:57:06.834" v="167" actId="47"/>
          <pc:sldLayoutMkLst>
            <pc:docMk/>
            <pc:sldMasterMk cId="233432734" sldId="2147484296"/>
            <pc:sldLayoutMk cId="960059324" sldId="2147484303"/>
          </pc:sldLayoutMkLst>
        </pc:sldLayoutChg>
        <pc:sldLayoutChg chg="del">
          <pc:chgData name="Robert Hokin" userId="716caab2-0991-4278-8ec6-0588b66ef10d" providerId="ADAL" clId="{3136ABB0-5E07-4FDA-BC98-31E67987D5C7}" dt="2020-08-13T16:57:06.834" v="167" actId="47"/>
          <pc:sldLayoutMkLst>
            <pc:docMk/>
            <pc:sldMasterMk cId="233432734" sldId="2147484296"/>
            <pc:sldLayoutMk cId="2637874450" sldId="2147484304"/>
          </pc:sldLayoutMkLst>
        </pc:sldLayoutChg>
        <pc:sldLayoutChg chg="del">
          <pc:chgData name="Robert Hokin" userId="716caab2-0991-4278-8ec6-0588b66ef10d" providerId="ADAL" clId="{3136ABB0-5E07-4FDA-BC98-31E67987D5C7}" dt="2020-08-13T16:57:06.834" v="167" actId="47"/>
          <pc:sldLayoutMkLst>
            <pc:docMk/>
            <pc:sldMasterMk cId="233432734" sldId="2147484296"/>
            <pc:sldLayoutMk cId="4037551199" sldId="2147484305"/>
          </pc:sldLayoutMkLst>
        </pc:sldLayoutChg>
        <pc:sldLayoutChg chg="del">
          <pc:chgData name="Robert Hokin" userId="716caab2-0991-4278-8ec6-0588b66ef10d" providerId="ADAL" clId="{3136ABB0-5E07-4FDA-BC98-31E67987D5C7}" dt="2020-08-13T16:57:06.834" v="167" actId="47"/>
          <pc:sldLayoutMkLst>
            <pc:docMk/>
            <pc:sldMasterMk cId="233432734" sldId="2147484296"/>
            <pc:sldLayoutMk cId="3944087175" sldId="2147484306"/>
          </pc:sldLayoutMkLst>
        </pc:sldLayoutChg>
        <pc:sldLayoutChg chg="del">
          <pc:chgData name="Robert Hokin" userId="716caab2-0991-4278-8ec6-0588b66ef10d" providerId="ADAL" clId="{3136ABB0-5E07-4FDA-BC98-31E67987D5C7}" dt="2020-08-13T16:57:06.834" v="167" actId="47"/>
          <pc:sldLayoutMkLst>
            <pc:docMk/>
            <pc:sldMasterMk cId="233432734" sldId="2147484296"/>
            <pc:sldLayoutMk cId="2775635777" sldId="2147484307"/>
          </pc:sldLayoutMkLst>
        </pc:sldLayoutChg>
        <pc:sldLayoutChg chg="del">
          <pc:chgData name="Robert Hokin" userId="716caab2-0991-4278-8ec6-0588b66ef10d" providerId="ADAL" clId="{3136ABB0-5E07-4FDA-BC98-31E67987D5C7}" dt="2020-08-13T16:57:06.439" v="165" actId="47"/>
          <pc:sldLayoutMkLst>
            <pc:docMk/>
            <pc:sldMasterMk cId="233432734" sldId="2147484296"/>
            <pc:sldLayoutMk cId="2116222004" sldId="2147484308"/>
          </pc:sldLayoutMkLst>
        </pc:sldLayoutChg>
        <pc:sldLayoutChg chg="del">
          <pc:chgData name="Robert Hokin" userId="716caab2-0991-4278-8ec6-0588b66ef10d" providerId="ADAL" clId="{3136ABB0-5E07-4FDA-BC98-31E67987D5C7}" dt="2020-08-13T16:57:06.626" v="166" actId="47"/>
          <pc:sldLayoutMkLst>
            <pc:docMk/>
            <pc:sldMasterMk cId="233432734" sldId="2147484296"/>
            <pc:sldLayoutMk cId="3526618856" sldId="2147484309"/>
          </pc:sldLayoutMkLst>
        </pc:sldLayoutChg>
      </pc:sldMasterChg>
      <pc:sldMasterChg chg="del delSldLayout">
        <pc:chgData name="Robert Hokin" userId="716caab2-0991-4278-8ec6-0588b66ef10d" providerId="ADAL" clId="{3136ABB0-5E07-4FDA-BC98-31E67987D5C7}" dt="2020-08-13T16:56:59.374" v="155" actId="47"/>
        <pc:sldMasterMkLst>
          <pc:docMk/>
          <pc:sldMasterMk cId="3620457876" sldId="2147484310"/>
        </pc:sldMasterMkLst>
        <pc:sldLayoutChg chg="del">
          <pc:chgData name="Robert Hokin" userId="716caab2-0991-4278-8ec6-0588b66ef10d" providerId="ADAL" clId="{3136ABB0-5E07-4FDA-BC98-31E67987D5C7}" dt="2020-08-13T16:56:59.374" v="155" actId="47"/>
          <pc:sldLayoutMkLst>
            <pc:docMk/>
            <pc:sldMasterMk cId="3620457876" sldId="2147484310"/>
            <pc:sldLayoutMk cId="1769854793" sldId="2147484311"/>
          </pc:sldLayoutMkLst>
        </pc:sldLayoutChg>
        <pc:sldLayoutChg chg="del">
          <pc:chgData name="Robert Hokin" userId="716caab2-0991-4278-8ec6-0588b66ef10d" providerId="ADAL" clId="{3136ABB0-5E07-4FDA-BC98-31E67987D5C7}" dt="2020-08-13T16:56:59.374" v="155" actId="47"/>
          <pc:sldLayoutMkLst>
            <pc:docMk/>
            <pc:sldMasterMk cId="3620457876" sldId="2147484310"/>
            <pc:sldLayoutMk cId="95325350" sldId="2147484312"/>
          </pc:sldLayoutMkLst>
        </pc:sldLayoutChg>
        <pc:sldLayoutChg chg="del">
          <pc:chgData name="Robert Hokin" userId="716caab2-0991-4278-8ec6-0588b66ef10d" providerId="ADAL" clId="{3136ABB0-5E07-4FDA-BC98-31E67987D5C7}" dt="2020-08-13T16:56:59.374" v="155" actId="47"/>
          <pc:sldLayoutMkLst>
            <pc:docMk/>
            <pc:sldMasterMk cId="3620457876" sldId="2147484310"/>
            <pc:sldLayoutMk cId="2256170649" sldId="2147484313"/>
          </pc:sldLayoutMkLst>
        </pc:sldLayoutChg>
        <pc:sldLayoutChg chg="del">
          <pc:chgData name="Robert Hokin" userId="716caab2-0991-4278-8ec6-0588b66ef10d" providerId="ADAL" clId="{3136ABB0-5E07-4FDA-BC98-31E67987D5C7}" dt="2020-08-13T16:56:59.374" v="155" actId="47"/>
          <pc:sldLayoutMkLst>
            <pc:docMk/>
            <pc:sldMasterMk cId="3620457876" sldId="2147484310"/>
            <pc:sldLayoutMk cId="21384077" sldId="2147484314"/>
          </pc:sldLayoutMkLst>
        </pc:sldLayoutChg>
        <pc:sldLayoutChg chg="del">
          <pc:chgData name="Robert Hokin" userId="716caab2-0991-4278-8ec6-0588b66ef10d" providerId="ADAL" clId="{3136ABB0-5E07-4FDA-BC98-31E67987D5C7}" dt="2020-08-13T16:56:59.374" v="155" actId="47"/>
          <pc:sldLayoutMkLst>
            <pc:docMk/>
            <pc:sldMasterMk cId="3620457876" sldId="2147484310"/>
            <pc:sldLayoutMk cId="1276115112" sldId="2147484315"/>
          </pc:sldLayoutMkLst>
        </pc:sldLayoutChg>
        <pc:sldLayoutChg chg="del">
          <pc:chgData name="Robert Hokin" userId="716caab2-0991-4278-8ec6-0588b66ef10d" providerId="ADAL" clId="{3136ABB0-5E07-4FDA-BC98-31E67987D5C7}" dt="2020-08-13T16:56:59.374" v="155" actId="47"/>
          <pc:sldLayoutMkLst>
            <pc:docMk/>
            <pc:sldMasterMk cId="3620457876" sldId="2147484310"/>
            <pc:sldLayoutMk cId="2603284765" sldId="2147484316"/>
          </pc:sldLayoutMkLst>
        </pc:sldLayoutChg>
        <pc:sldLayoutChg chg="del">
          <pc:chgData name="Robert Hokin" userId="716caab2-0991-4278-8ec6-0588b66ef10d" providerId="ADAL" clId="{3136ABB0-5E07-4FDA-BC98-31E67987D5C7}" dt="2020-08-13T16:56:59.374" v="155" actId="47"/>
          <pc:sldLayoutMkLst>
            <pc:docMk/>
            <pc:sldMasterMk cId="3620457876" sldId="2147484310"/>
            <pc:sldLayoutMk cId="4004313511" sldId="2147484317"/>
          </pc:sldLayoutMkLst>
        </pc:sldLayoutChg>
        <pc:sldLayoutChg chg="del">
          <pc:chgData name="Robert Hokin" userId="716caab2-0991-4278-8ec6-0588b66ef10d" providerId="ADAL" clId="{3136ABB0-5E07-4FDA-BC98-31E67987D5C7}" dt="2020-08-13T16:56:59.374" v="155" actId="47"/>
          <pc:sldLayoutMkLst>
            <pc:docMk/>
            <pc:sldMasterMk cId="3620457876" sldId="2147484310"/>
            <pc:sldLayoutMk cId="3166943081" sldId="2147484318"/>
          </pc:sldLayoutMkLst>
        </pc:sldLayoutChg>
        <pc:sldLayoutChg chg="del">
          <pc:chgData name="Robert Hokin" userId="716caab2-0991-4278-8ec6-0588b66ef10d" providerId="ADAL" clId="{3136ABB0-5E07-4FDA-BC98-31E67987D5C7}" dt="2020-08-13T16:56:59.374" v="155" actId="47"/>
          <pc:sldLayoutMkLst>
            <pc:docMk/>
            <pc:sldMasterMk cId="3620457876" sldId="2147484310"/>
            <pc:sldLayoutMk cId="2471266088" sldId="2147484319"/>
          </pc:sldLayoutMkLst>
        </pc:sldLayoutChg>
        <pc:sldLayoutChg chg="del">
          <pc:chgData name="Robert Hokin" userId="716caab2-0991-4278-8ec6-0588b66ef10d" providerId="ADAL" clId="{3136ABB0-5E07-4FDA-BC98-31E67987D5C7}" dt="2020-08-13T16:56:59.374" v="155" actId="47"/>
          <pc:sldLayoutMkLst>
            <pc:docMk/>
            <pc:sldMasterMk cId="3620457876" sldId="2147484310"/>
            <pc:sldLayoutMk cId="172710073" sldId="2147484320"/>
          </pc:sldLayoutMkLst>
        </pc:sldLayoutChg>
        <pc:sldLayoutChg chg="del">
          <pc:chgData name="Robert Hokin" userId="716caab2-0991-4278-8ec6-0588b66ef10d" providerId="ADAL" clId="{3136ABB0-5E07-4FDA-BC98-31E67987D5C7}" dt="2020-08-13T16:56:59.374" v="155" actId="47"/>
          <pc:sldLayoutMkLst>
            <pc:docMk/>
            <pc:sldMasterMk cId="3620457876" sldId="2147484310"/>
            <pc:sldLayoutMk cId="3013510062" sldId="2147484321"/>
          </pc:sldLayoutMkLst>
        </pc:sldLayoutChg>
        <pc:sldLayoutChg chg="del">
          <pc:chgData name="Robert Hokin" userId="716caab2-0991-4278-8ec6-0588b66ef10d" providerId="ADAL" clId="{3136ABB0-5E07-4FDA-BC98-31E67987D5C7}" dt="2020-08-13T16:56:54.487" v="148" actId="47"/>
          <pc:sldLayoutMkLst>
            <pc:docMk/>
            <pc:sldMasterMk cId="3620457876" sldId="2147484310"/>
            <pc:sldLayoutMk cId="2256457545" sldId="2147484322"/>
          </pc:sldLayoutMkLst>
        </pc:sldLayoutChg>
      </pc:sldMasterChg>
      <pc:sldMasterChg chg="del delSldLayout">
        <pc:chgData name="Robert Hokin" userId="716caab2-0991-4278-8ec6-0588b66ef10d" providerId="ADAL" clId="{3136ABB0-5E07-4FDA-BC98-31E67987D5C7}" dt="2020-08-13T16:57:19.122" v="186" actId="47"/>
        <pc:sldMasterMkLst>
          <pc:docMk/>
          <pc:sldMasterMk cId="3381685272" sldId="2147484323"/>
        </pc:sldMasterMkLst>
        <pc:sldLayoutChg chg="del">
          <pc:chgData name="Robert Hokin" userId="716caab2-0991-4278-8ec6-0588b66ef10d" providerId="ADAL" clId="{3136ABB0-5E07-4FDA-BC98-31E67987D5C7}" dt="2020-08-13T16:57:19.122" v="186" actId="47"/>
          <pc:sldLayoutMkLst>
            <pc:docMk/>
            <pc:sldMasterMk cId="3381685272" sldId="2147484323"/>
            <pc:sldLayoutMk cId="2041694025" sldId="2147484324"/>
          </pc:sldLayoutMkLst>
        </pc:sldLayoutChg>
        <pc:sldLayoutChg chg="del">
          <pc:chgData name="Robert Hokin" userId="716caab2-0991-4278-8ec6-0588b66ef10d" providerId="ADAL" clId="{3136ABB0-5E07-4FDA-BC98-31E67987D5C7}" dt="2020-08-13T16:57:19.122" v="186" actId="47"/>
          <pc:sldLayoutMkLst>
            <pc:docMk/>
            <pc:sldMasterMk cId="3381685272" sldId="2147484323"/>
            <pc:sldLayoutMk cId="2661087823" sldId="2147484325"/>
          </pc:sldLayoutMkLst>
        </pc:sldLayoutChg>
        <pc:sldLayoutChg chg="del">
          <pc:chgData name="Robert Hokin" userId="716caab2-0991-4278-8ec6-0588b66ef10d" providerId="ADAL" clId="{3136ABB0-5E07-4FDA-BC98-31E67987D5C7}" dt="2020-08-13T16:57:19.122" v="186" actId="47"/>
          <pc:sldLayoutMkLst>
            <pc:docMk/>
            <pc:sldMasterMk cId="3381685272" sldId="2147484323"/>
            <pc:sldLayoutMk cId="477718378" sldId="2147484326"/>
          </pc:sldLayoutMkLst>
        </pc:sldLayoutChg>
        <pc:sldLayoutChg chg="del">
          <pc:chgData name="Robert Hokin" userId="716caab2-0991-4278-8ec6-0588b66ef10d" providerId="ADAL" clId="{3136ABB0-5E07-4FDA-BC98-31E67987D5C7}" dt="2020-08-13T16:57:19.122" v="186" actId="47"/>
          <pc:sldLayoutMkLst>
            <pc:docMk/>
            <pc:sldMasterMk cId="3381685272" sldId="2147484323"/>
            <pc:sldLayoutMk cId="3199461106" sldId="2147484327"/>
          </pc:sldLayoutMkLst>
        </pc:sldLayoutChg>
        <pc:sldLayoutChg chg="del">
          <pc:chgData name="Robert Hokin" userId="716caab2-0991-4278-8ec6-0588b66ef10d" providerId="ADAL" clId="{3136ABB0-5E07-4FDA-BC98-31E67987D5C7}" dt="2020-08-13T16:57:19.122" v="186" actId="47"/>
          <pc:sldLayoutMkLst>
            <pc:docMk/>
            <pc:sldMasterMk cId="3381685272" sldId="2147484323"/>
            <pc:sldLayoutMk cId="3979401039" sldId="2147484328"/>
          </pc:sldLayoutMkLst>
        </pc:sldLayoutChg>
        <pc:sldLayoutChg chg="del">
          <pc:chgData name="Robert Hokin" userId="716caab2-0991-4278-8ec6-0588b66ef10d" providerId="ADAL" clId="{3136ABB0-5E07-4FDA-BC98-31E67987D5C7}" dt="2020-08-13T16:57:19.122" v="186" actId="47"/>
          <pc:sldLayoutMkLst>
            <pc:docMk/>
            <pc:sldMasterMk cId="3381685272" sldId="2147484323"/>
            <pc:sldLayoutMk cId="3925641138" sldId="2147484329"/>
          </pc:sldLayoutMkLst>
        </pc:sldLayoutChg>
        <pc:sldLayoutChg chg="del">
          <pc:chgData name="Robert Hokin" userId="716caab2-0991-4278-8ec6-0588b66ef10d" providerId="ADAL" clId="{3136ABB0-5E07-4FDA-BC98-31E67987D5C7}" dt="2020-08-13T16:57:19.122" v="186" actId="47"/>
          <pc:sldLayoutMkLst>
            <pc:docMk/>
            <pc:sldMasterMk cId="3381685272" sldId="2147484323"/>
            <pc:sldLayoutMk cId="1191036735" sldId="2147484330"/>
          </pc:sldLayoutMkLst>
        </pc:sldLayoutChg>
        <pc:sldLayoutChg chg="del">
          <pc:chgData name="Robert Hokin" userId="716caab2-0991-4278-8ec6-0588b66ef10d" providerId="ADAL" clId="{3136ABB0-5E07-4FDA-BC98-31E67987D5C7}" dt="2020-08-13T16:57:19.122" v="186" actId="47"/>
          <pc:sldLayoutMkLst>
            <pc:docMk/>
            <pc:sldMasterMk cId="3381685272" sldId="2147484323"/>
            <pc:sldLayoutMk cId="1842546321" sldId="2147484331"/>
          </pc:sldLayoutMkLst>
        </pc:sldLayoutChg>
        <pc:sldLayoutChg chg="del">
          <pc:chgData name="Robert Hokin" userId="716caab2-0991-4278-8ec6-0588b66ef10d" providerId="ADAL" clId="{3136ABB0-5E07-4FDA-BC98-31E67987D5C7}" dt="2020-08-13T16:57:19.122" v="186" actId="47"/>
          <pc:sldLayoutMkLst>
            <pc:docMk/>
            <pc:sldMasterMk cId="3381685272" sldId="2147484323"/>
            <pc:sldLayoutMk cId="2970725328" sldId="2147484332"/>
          </pc:sldLayoutMkLst>
        </pc:sldLayoutChg>
        <pc:sldLayoutChg chg="del">
          <pc:chgData name="Robert Hokin" userId="716caab2-0991-4278-8ec6-0588b66ef10d" providerId="ADAL" clId="{3136ABB0-5E07-4FDA-BC98-31E67987D5C7}" dt="2020-08-13T16:57:19.122" v="186" actId="47"/>
          <pc:sldLayoutMkLst>
            <pc:docMk/>
            <pc:sldMasterMk cId="3381685272" sldId="2147484323"/>
            <pc:sldLayoutMk cId="1261832068" sldId="2147484333"/>
          </pc:sldLayoutMkLst>
        </pc:sldLayoutChg>
      </pc:sldMasterChg>
      <pc:sldMasterChg chg="del delSldLayout">
        <pc:chgData name="Robert Hokin" userId="716caab2-0991-4278-8ec6-0588b66ef10d" providerId="ADAL" clId="{3136ABB0-5E07-4FDA-BC98-31E67987D5C7}" dt="2020-08-19T14:11:09.422" v="4475" actId="47"/>
        <pc:sldMasterMkLst>
          <pc:docMk/>
          <pc:sldMasterMk cId="124138424" sldId="2147484334"/>
        </pc:sldMasterMkLst>
        <pc:sldLayoutChg chg="del">
          <pc:chgData name="Robert Hokin" userId="716caab2-0991-4278-8ec6-0588b66ef10d" providerId="ADAL" clId="{3136ABB0-5E07-4FDA-BC98-31E67987D5C7}" dt="2020-08-19T14:11:09.422" v="4475" actId="47"/>
          <pc:sldLayoutMkLst>
            <pc:docMk/>
            <pc:sldMasterMk cId="124138424" sldId="2147484334"/>
            <pc:sldLayoutMk cId="2778213332" sldId="2147484335"/>
          </pc:sldLayoutMkLst>
        </pc:sldLayoutChg>
        <pc:sldLayoutChg chg="del">
          <pc:chgData name="Robert Hokin" userId="716caab2-0991-4278-8ec6-0588b66ef10d" providerId="ADAL" clId="{3136ABB0-5E07-4FDA-BC98-31E67987D5C7}" dt="2020-08-19T14:11:09.422" v="4475" actId="47"/>
          <pc:sldLayoutMkLst>
            <pc:docMk/>
            <pc:sldMasterMk cId="124138424" sldId="2147484334"/>
            <pc:sldLayoutMk cId="3264960914" sldId="2147484336"/>
          </pc:sldLayoutMkLst>
        </pc:sldLayoutChg>
        <pc:sldLayoutChg chg="del">
          <pc:chgData name="Robert Hokin" userId="716caab2-0991-4278-8ec6-0588b66ef10d" providerId="ADAL" clId="{3136ABB0-5E07-4FDA-BC98-31E67987D5C7}" dt="2020-08-19T14:11:09.422" v="4475" actId="47"/>
          <pc:sldLayoutMkLst>
            <pc:docMk/>
            <pc:sldMasterMk cId="124138424" sldId="2147484334"/>
            <pc:sldLayoutMk cId="1445932799" sldId="2147484337"/>
          </pc:sldLayoutMkLst>
        </pc:sldLayoutChg>
        <pc:sldLayoutChg chg="del">
          <pc:chgData name="Robert Hokin" userId="716caab2-0991-4278-8ec6-0588b66ef10d" providerId="ADAL" clId="{3136ABB0-5E07-4FDA-BC98-31E67987D5C7}" dt="2020-08-19T14:11:09.422" v="4475" actId="47"/>
          <pc:sldLayoutMkLst>
            <pc:docMk/>
            <pc:sldMasterMk cId="124138424" sldId="2147484334"/>
            <pc:sldLayoutMk cId="2397388141" sldId="2147484338"/>
          </pc:sldLayoutMkLst>
        </pc:sldLayoutChg>
        <pc:sldLayoutChg chg="del">
          <pc:chgData name="Robert Hokin" userId="716caab2-0991-4278-8ec6-0588b66ef10d" providerId="ADAL" clId="{3136ABB0-5E07-4FDA-BC98-31E67987D5C7}" dt="2020-08-19T14:11:09.422" v="4475" actId="47"/>
          <pc:sldLayoutMkLst>
            <pc:docMk/>
            <pc:sldMasterMk cId="124138424" sldId="2147484334"/>
            <pc:sldLayoutMk cId="2127888196" sldId="2147484339"/>
          </pc:sldLayoutMkLst>
        </pc:sldLayoutChg>
        <pc:sldLayoutChg chg="del">
          <pc:chgData name="Robert Hokin" userId="716caab2-0991-4278-8ec6-0588b66ef10d" providerId="ADAL" clId="{3136ABB0-5E07-4FDA-BC98-31E67987D5C7}" dt="2020-08-19T14:11:09.422" v="4475" actId="47"/>
          <pc:sldLayoutMkLst>
            <pc:docMk/>
            <pc:sldMasterMk cId="124138424" sldId="2147484334"/>
            <pc:sldLayoutMk cId="3187526412" sldId="2147484340"/>
          </pc:sldLayoutMkLst>
        </pc:sldLayoutChg>
        <pc:sldLayoutChg chg="del">
          <pc:chgData name="Robert Hokin" userId="716caab2-0991-4278-8ec6-0588b66ef10d" providerId="ADAL" clId="{3136ABB0-5E07-4FDA-BC98-31E67987D5C7}" dt="2020-08-19T14:11:09.422" v="4475" actId="47"/>
          <pc:sldLayoutMkLst>
            <pc:docMk/>
            <pc:sldMasterMk cId="124138424" sldId="2147484334"/>
            <pc:sldLayoutMk cId="2693139714" sldId="2147484341"/>
          </pc:sldLayoutMkLst>
        </pc:sldLayoutChg>
        <pc:sldLayoutChg chg="del">
          <pc:chgData name="Robert Hokin" userId="716caab2-0991-4278-8ec6-0588b66ef10d" providerId="ADAL" clId="{3136ABB0-5E07-4FDA-BC98-31E67987D5C7}" dt="2020-08-19T14:11:09.422" v="4475" actId="47"/>
          <pc:sldLayoutMkLst>
            <pc:docMk/>
            <pc:sldMasterMk cId="124138424" sldId="2147484334"/>
            <pc:sldLayoutMk cId="3932344335" sldId="2147484342"/>
          </pc:sldLayoutMkLst>
        </pc:sldLayoutChg>
        <pc:sldLayoutChg chg="del">
          <pc:chgData name="Robert Hokin" userId="716caab2-0991-4278-8ec6-0588b66ef10d" providerId="ADAL" clId="{3136ABB0-5E07-4FDA-BC98-31E67987D5C7}" dt="2020-08-19T14:11:09.422" v="4475" actId="47"/>
          <pc:sldLayoutMkLst>
            <pc:docMk/>
            <pc:sldMasterMk cId="124138424" sldId="2147484334"/>
            <pc:sldLayoutMk cId="1544936409" sldId="2147484343"/>
          </pc:sldLayoutMkLst>
        </pc:sldLayoutChg>
        <pc:sldLayoutChg chg="del">
          <pc:chgData name="Robert Hokin" userId="716caab2-0991-4278-8ec6-0588b66ef10d" providerId="ADAL" clId="{3136ABB0-5E07-4FDA-BC98-31E67987D5C7}" dt="2020-08-19T14:11:09.422" v="4475" actId="47"/>
          <pc:sldLayoutMkLst>
            <pc:docMk/>
            <pc:sldMasterMk cId="124138424" sldId="2147484334"/>
            <pc:sldLayoutMk cId="774645675" sldId="2147484344"/>
          </pc:sldLayoutMkLst>
        </pc:sldLayoutChg>
        <pc:sldLayoutChg chg="del">
          <pc:chgData name="Robert Hokin" userId="716caab2-0991-4278-8ec6-0588b66ef10d" providerId="ADAL" clId="{3136ABB0-5E07-4FDA-BC98-31E67987D5C7}" dt="2020-08-19T14:11:09.422" v="4475" actId="47"/>
          <pc:sldLayoutMkLst>
            <pc:docMk/>
            <pc:sldMasterMk cId="124138424" sldId="2147484334"/>
            <pc:sldLayoutMk cId="1191757755" sldId="2147484345"/>
          </pc:sldLayoutMkLst>
        </pc:sldLayoutChg>
      </pc:sldMasterChg>
      <pc:sldMasterChg chg="del delSldLayout">
        <pc:chgData name="Robert Hokin" userId="716caab2-0991-4278-8ec6-0588b66ef10d" providerId="ADAL" clId="{3136ABB0-5E07-4FDA-BC98-31E67987D5C7}" dt="2020-08-13T16:56:50.761" v="138" actId="47"/>
        <pc:sldMasterMkLst>
          <pc:docMk/>
          <pc:sldMasterMk cId="4215635029" sldId="2147484346"/>
        </pc:sldMasterMkLst>
        <pc:sldLayoutChg chg="del">
          <pc:chgData name="Robert Hokin" userId="716caab2-0991-4278-8ec6-0588b66ef10d" providerId="ADAL" clId="{3136ABB0-5E07-4FDA-BC98-31E67987D5C7}" dt="2020-08-13T16:56:50.761" v="138" actId="47"/>
          <pc:sldLayoutMkLst>
            <pc:docMk/>
            <pc:sldMasterMk cId="4215635029" sldId="2147484346"/>
            <pc:sldLayoutMk cId="1193453834" sldId="2147484347"/>
          </pc:sldLayoutMkLst>
        </pc:sldLayoutChg>
        <pc:sldLayoutChg chg="del">
          <pc:chgData name="Robert Hokin" userId="716caab2-0991-4278-8ec6-0588b66ef10d" providerId="ADAL" clId="{3136ABB0-5E07-4FDA-BC98-31E67987D5C7}" dt="2020-08-13T16:56:50.761" v="138" actId="47"/>
          <pc:sldLayoutMkLst>
            <pc:docMk/>
            <pc:sldMasterMk cId="4215635029" sldId="2147484346"/>
            <pc:sldLayoutMk cId="1973916518" sldId="2147484348"/>
          </pc:sldLayoutMkLst>
        </pc:sldLayoutChg>
        <pc:sldLayoutChg chg="del">
          <pc:chgData name="Robert Hokin" userId="716caab2-0991-4278-8ec6-0588b66ef10d" providerId="ADAL" clId="{3136ABB0-5E07-4FDA-BC98-31E67987D5C7}" dt="2020-08-13T16:56:50.761" v="138" actId="47"/>
          <pc:sldLayoutMkLst>
            <pc:docMk/>
            <pc:sldMasterMk cId="4215635029" sldId="2147484346"/>
            <pc:sldLayoutMk cId="2895056448" sldId="2147484349"/>
          </pc:sldLayoutMkLst>
        </pc:sldLayoutChg>
        <pc:sldLayoutChg chg="del">
          <pc:chgData name="Robert Hokin" userId="716caab2-0991-4278-8ec6-0588b66ef10d" providerId="ADAL" clId="{3136ABB0-5E07-4FDA-BC98-31E67987D5C7}" dt="2020-08-13T16:56:50.761" v="138" actId="47"/>
          <pc:sldLayoutMkLst>
            <pc:docMk/>
            <pc:sldMasterMk cId="4215635029" sldId="2147484346"/>
            <pc:sldLayoutMk cId="4007779537" sldId="2147484350"/>
          </pc:sldLayoutMkLst>
        </pc:sldLayoutChg>
        <pc:sldLayoutChg chg="del">
          <pc:chgData name="Robert Hokin" userId="716caab2-0991-4278-8ec6-0588b66ef10d" providerId="ADAL" clId="{3136ABB0-5E07-4FDA-BC98-31E67987D5C7}" dt="2020-08-13T16:56:50.761" v="138" actId="47"/>
          <pc:sldLayoutMkLst>
            <pc:docMk/>
            <pc:sldMasterMk cId="4215635029" sldId="2147484346"/>
            <pc:sldLayoutMk cId="2096031400" sldId="2147484351"/>
          </pc:sldLayoutMkLst>
        </pc:sldLayoutChg>
        <pc:sldLayoutChg chg="del">
          <pc:chgData name="Robert Hokin" userId="716caab2-0991-4278-8ec6-0588b66ef10d" providerId="ADAL" clId="{3136ABB0-5E07-4FDA-BC98-31E67987D5C7}" dt="2020-08-13T16:56:50.761" v="138" actId="47"/>
          <pc:sldLayoutMkLst>
            <pc:docMk/>
            <pc:sldMasterMk cId="4215635029" sldId="2147484346"/>
            <pc:sldLayoutMk cId="1811513478" sldId="2147484352"/>
          </pc:sldLayoutMkLst>
        </pc:sldLayoutChg>
        <pc:sldLayoutChg chg="del">
          <pc:chgData name="Robert Hokin" userId="716caab2-0991-4278-8ec6-0588b66ef10d" providerId="ADAL" clId="{3136ABB0-5E07-4FDA-BC98-31E67987D5C7}" dt="2020-08-13T16:56:50.761" v="138" actId="47"/>
          <pc:sldLayoutMkLst>
            <pc:docMk/>
            <pc:sldMasterMk cId="4215635029" sldId="2147484346"/>
            <pc:sldLayoutMk cId="911744385" sldId="2147484353"/>
          </pc:sldLayoutMkLst>
        </pc:sldLayoutChg>
        <pc:sldLayoutChg chg="del">
          <pc:chgData name="Robert Hokin" userId="716caab2-0991-4278-8ec6-0588b66ef10d" providerId="ADAL" clId="{3136ABB0-5E07-4FDA-BC98-31E67987D5C7}" dt="2020-08-13T16:56:50.761" v="138" actId="47"/>
          <pc:sldLayoutMkLst>
            <pc:docMk/>
            <pc:sldMasterMk cId="4215635029" sldId="2147484346"/>
            <pc:sldLayoutMk cId="313638348" sldId="2147484354"/>
          </pc:sldLayoutMkLst>
        </pc:sldLayoutChg>
        <pc:sldLayoutChg chg="del">
          <pc:chgData name="Robert Hokin" userId="716caab2-0991-4278-8ec6-0588b66ef10d" providerId="ADAL" clId="{3136ABB0-5E07-4FDA-BC98-31E67987D5C7}" dt="2020-08-13T16:56:50.761" v="138" actId="47"/>
          <pc:sldLayoutMkLst>
            <pc:docMk/>
            <pc:sldMasterMk cId="4215635029" sldId="2147484346"/>
            <pc:sldLayoutMk cId="3177434366" sldId="2147484355"/>
          </pc:sldLayoutMkLst>
        </pc:sldLayoutChg>
        <pc:sldLayoutChg chg="del">
          <pc:chgData name="Robert Hokin" userId="716caab2-0991-4278-8ec6-0588b66ef10d" providerId="ADAL" clId="{3136ABB0-5E07-4FDA-BC98-31E67987D5C7}" dt="2020-08-13T16:56:50.761" v="138" actId="47"/>
          <pc:sldLayoutMkLst>
            <pc:docMk/>
            <pc:sldMasterMk cId="4215635029" sldId="2147484346"/>
            <pc:sldLayoutMk cId="1805749708" sldId="2147484356"/>
          </pc:sldLayoutMkLst>
        </pc:sldLayoutChg>
        <pc:sldLayoutChg chg="del">
          <pc:chgData name="Robert Hokin" userId="716caab2-0991-4278-8ec6-0588b66ef10d" providerId="ADAL" clId="{3136ABB0-5E07-4FDA-BC98-31E67987D5C7}" dt="2020-08-13T16:56:50.761" v="138" actId="47"/>
          <pc:sldLayoutMkLst>
            <pc:docMk/>
            <pc:sldMasterMk cId="4215635029" sldId="2147484346"/>
            <pc:sldLayoutMk cId="3680228192" sldId="2147484357"/>
          </pc:sldLayoutMkLst>
        </pc:sldLayoutChg>
        <pc:sldLayoutChg chg="del">
          <pc:chgData name="Robert Hokin" userId="716caab2-0991-4278-8ec6-0588b66ef10d" providerId="ADAL" clId="{3136ABB0-5E07-4FDA-BC98-31E67987D5C7}" dt="2020-08-13T16:56:49.988" v="137" actId="47"/>
          <pc:sldLayoutMkLst>
            <pc:docMk/>
            <pc:sldMasterMk cId="4215635029" sldId="2147484346"/>
            <pc:sldLayoutMk cId="3650941695" sldId="2147484358"/>
          </pc:sldLayoutMkLst>
        </pc:sldLayoutChg>
      </pc:sldMasterChg>
      <pc:sldMasterChg chg="del delSldLayout">
        <pc:chgData name="Robert Hokin" userId="716caab2-0991-4278-8ec6-0588b66ef10d" providerId="ADAL" clId="{3136ABB0-5E07-4FDA-BC98-31E67987D5C7}" dt="2020-08-13T16:55:07.603" v="47" actId="47"/>
        <pc:sldMasterMkLst>
          <pc:docMk/>
          <pc:sldMasterMk cId="210346550" sldId="2147484359"/>
        </pc:sldMasterMkLst>
        <pc:sldLayoutChg chg="del">
          <pc:chgData name="Robert Hokin" userId="716caab2-0991-4278-8ec6-0588b66ef10d" providerId="ADAL" clId="{3136ABB0-5E07-4FDA-BC98-31E67987D5C7}" dt="2020-08-13T16:55:07.603" v="47" actId="47"/>
          <pc:sldLayoutMkLst>
            <pc:docMk/>
            <pc:sldMasterMk cId="210346550" sldId="2147484359"/>
            <pc:sldLayoutMk cId="4020300881" sldId="2147484360"/>
          </pc:sldLayoutMkLst>
        </pc:sldLayoutChg>
        <pc:sldLayoutChg chg="del">
          <pc:chgData name="Robert Hokin" userId="716caab2-0991-4278-8ec6-0588b66ef10d" providerId="ADAL" clId="{3136ABB0-5E07-4FDA-BC98-31E67987D5C7}" dt="2020-08-13T16:55:07.603" v="47" actId="47"/>
          <pc:sldLayoutMkLst>
            <pc:docMk/>
            <pc:sldMasterMk cId="210346550" sldId="2147484359"/>
            <pc:sldLayoutMk cId="4270269982" sldId="2147484361"/>
          </pc:sldLayoutMkLst>
        </pc:sldLayoutChg>
        <pc:sldLayoutChg chg="del">
          <pc:chgData name="Robert Hokin" userId="716caab2-0991-4278-8ec6-0588b66ef10d" providerId="ADAL" clId="{3136ABB0-5E07-4FDA-BC98-31E67987D5C7}" dt="2020-08-13T16:55:07.603" v="47" actId="47"/>
          <pc:sldLayoutMkLst>
            <pc:docMk/>
            <pc:sldMasterMk cId="210346550" sldId="2147484359"/>
            <pc:sldLayoutMk cId="3622570228" sldId="2147484362"/>
          </pc:sldLayoutMkLst>
        </pc:sldLayoutChg>
        <pc:sldLayoutChg chg="del">
          <pc:chgData name="Robert Hokin" userId="716caab2-0991-4278-8ec6-0588b66ef10d" providerId="ADAL" clId="{3136ABB0-5E07-4FDA-BC98-31E67987D5C7}" dt="2020-08-13T16:55:07.603" v="47" actId="47"/>
          <pc:sldLayoutMkLst>
            <pc:docMk/>
            <pc:sldMasterMk cId="210346550" sldId="2147484359"/>
            <pc:sldLayoutMk cId="3656633253" sldId="2147484363"/>
          </pc:sldLayoutMkLst>
        </pc:sldLayoutChg>
        <pc:sldLayoutChg chg="del">
          <pc:chgData name="Robert Hokin" userId="716caab2-0991-4278-8ec6-0588b66ef10d" providerId="ADAL" clId="{3136ABB0-5E07-4FDA-BC98-31E67987D5C7}" dt="2020-08-13T16:55:07.603" v="47" actId="47"/>
          <pc:sldLayoutMkLst>
            <pc:docMk/>
            <pc:sldMasterMk cId="210346550" sldId="2147484359"/>
            <pc:sldLayoutMk cId="153018297" sldId="2147484364"/>
          </pc:sldLayoutMkLst>
        </pc:sldLayoutChg>
        <pc:sldLayoutChg chg="del">
          <pc:chgData name="Robert Hokin" userId="716caab2-0991-4278-8ec6-0588b66ef10d" providerId="ADAL" clId="{3136ABB0-5E07-4FDA-BC98-31E67987D5C7}" dt="2020-08-13T16:55:07.603" v="47" actId="47"/>
          <pc:sldLayoutMkLst>
            <pc:docMk/>
            <pc:sldMasterMk cId="210346550" sldId="2147484359"/>
            <pc:sldLayoutMk cId="4023405135" sldId="2147484365"/>
          </pc:sldLayoutMkLst>
        </pc:sldLayoutChg>
        <pc:sldLayoutChg chg="del">
          <pc:chgData name="Robert Hokin" userId="716caab2-0991-4278-8ec6-0588b66ef10d" providerId="ADAL" clId="{3136ABB0-5E07-4FDA-BC98-31E67987D5C7}" dt="2020-08-13T16:55:07.603" v="47" actId="47"/>
          <pc:sldLayoutMkLst>
            <pc:docMk/>
            <pc:sldMasterMk cId="210346550" sldId="2147484359"/>
            <pc:sldLayoutMk cId="2584262355" sldId="2147484366"/>
          </pc:sldLayoutMkLst>
        </pc:sldLayoutChg>
        <pc:sldLayoutChg chg="del">
          <pc:chgData name="Robert Hokin" userId="716caab2-0991-4278-8ec6-0588b66ef10d" providerId="ADAL" clId="{3136ABB0-5E07-4FDA-BC98-31E67987D5C7}" dt="2020-08-13T16:55:07.603" v="47" actId="47"/>
          <pc:sldLayoutMkLst>
            <pc:docMk/>
            <pc:sldMasterMk cId="210346550" sldId="2147484359"/>
            <pc:sldLayoutMk cId="2551988860" sldId="2147484367"/>
          </pc:sldLayoutMkLst>
        </pc:sldLayoutChg>
        <pc:sldLayoutChg chg="del">
          <pc:chgData name="Robert Hokin" userId="716caab2-0991-4278-8ec6-0588b66ef10d" providerId="ADAL" clId="{3136ABB0-5E07-4FDA-BC98-31E67987D5C7}" dt="2020-08-13T16:55:07.603" v="47" actId="47"/>
          <pc:sldLayoutMkLst>
            <pc:docMk/>
            <pc:sldMasterMk cId="210346550" sldId="2147484359"/>
            <pc:sldLayoutMk cId="563683422" sldId="2147484368"/>
          </pc:sldLayoutMkLst>
        </pc:sldLayoutChg>
        <pc:sldLayoutChg chg="del">
          <pc:chgData name="Robert Hokin" userId="716caab2-0991-4278-8ec6-0588b66ef10d" providerId="ADAL" clId="{3136ABB0-5E07-4FDA-BC98-31E67987D5C7}" dt="2020-08-13T16:55:07.603" v="47" actId="47"/>
          <pc:sldLayoutMkLst>
            <pc:docMk/>
            <pc:sldMasterMk cId="210346550" sldId="2147484359"/>
            <pc:sldLayoutMk cId="250253417" sldId="2147484369"/>
          </pc:sldLayoutMkLst>
        </pc:sldLayoutChg>
        <pc:sldLayoutChg chg="del">
          <pc:chgData name="Robert Hokin" userId="716caab2-0991-4278-8ec6-0588b66ef10d" providerId="ADAL" clId="{3136ABB0-5E07-4FDA-BC98-31E67987D5C7}" dt="2020-08-13T16:55:07.603" v="47" actId="47"/>
          <pc:sldLayoutMkLst>
            <pc:docMk/>
            <pc:sldMasterMk cId="210346550" sldId="2147484359"/>
            <pc:sldLayoutMk cId="2383880236" sldId="214748437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1C7892-1382-446C-BC76-EFA7C1BDC581}" type="datetimeFigureOut">
              <a:rPr lang="en-GB" smtClean="0"/>
              <a:t>19/08/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9651CB-BF4E-4ED0-BCB6-5B39AB565A0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858384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701565-522B-4C0B-9006-A91ACD1115A5}" type="datetimeFigureOut">
              <a:rPr lang="en-GB" smtClean="0"/>
              <a:t>19/08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3488"/>
            <a:ext cx="592137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14F5C4-C90A-4A06-A2DE-B5E85828D03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263187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.xml"/><Relationship Id="rId7" Type="http://schemas.openxmlformats.org/officeDocument/2006/relationships/image" Target="../media/image3.jp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.xml"/><Relationship Id="rId10" Type="http://schemas.openxmlformats.org/officeDocument/2006/relationships/image" Target="../media/image4.png"/><Relationship Id="rId4" Type="http://schemas.openxmlformats.org/officeDocument/2006/relationships/tags" Target="../tags/tag4.xml"/><Relationship Id="rId9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7.xml"/><Relationship Id="rId7" Type="http://schemas.openxmlformats.org/officeDocument/2006/relationships/image" Target="../media/image5.jp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9.xml"/><Relationship Id="rId10" Type="http://schemas.openxmlformats.org/officeDocument/2006/relationships/image" Target="../media/image4.png"/><Relationship Id="rId4" Type="http://schemas.openxmlformats.org/officeDocument/2006/relationships/tags" Target="../tags/tag8.xml"/><Relationship Id="rId9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1.xml"/><Relationship Id="rId7" Type="http://schemas.openxmlformats.org/officeDocument/2006/relationships/image" Target="../media/image6.jp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3.xml"/><Relationship Id="rId10" Type="http://schemas.openxmlformats.org/officeDocument/2006/relationships/image" Target="../media/image4.png"/><Relationship Id="rId4" Type="http://schemas.openxmlformats.org/officeDocument/2006/relationships/tags" Target="../tags/tag12.xml"/><Relationship Id="rId9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5.xml"/><Relationship Id="rId7" Type="http://schemas.openxmlformats.org/officeDocument/2006/relationships/image" Target="../media/image7.jpg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7.xml"/><Relationship Id="rId10" Type="http://schemas.openxmlformats.org/officeDocument/2006/relationships/image" Target="../media/image4.png"/><Relationship Id="rId4" Type="http://schemas.openxmlformats.org/officeDocument/2006/relationships/tags" Target="../tags/tag16.xml"/><Relationship Id="rId9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9.xml"/><Relationship Id="rId7" Type="http://schemas.openxmlformats.org/officeDocument/2006/relationships/image" Target="../media/image8.jpg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1.xml"/><Relationship Id="rId10" Type="http://schemas.openxmlformats.org/officeDocument/2006/relationships/image" Target="../media/image4.png"/><Relationship Id="rId4" Type="http://schemas.openxmlformats.org/officeDocument/2006/relationships/tags" Target="../tags/tag20.xml"/><Relationship Id="rId9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3.xml"/><Relationship Id="rId7" Type="http://schemas.openxmlformats.org/officeDocument/2006/relationships/image" Target="../media/image9.jpg"/><Relationship Id="rId2" Type="http://schemas.openxmlformats.org/officeDocument/2006/relationships/tags" Target="../tags/tag22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.xml"/><Relationship Id="rId10" Type="http://schemas.openxmlformats.org/officeDocument/2006/relationships/image" Target="../media/image4.png"/><Relationship Id="rId4" Type="http://schemas.openxmlformats.org/officeDocument/2006/relationships/tags" Target="../tags/tag24.xml"/><Relationship Id="rId9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7.xml"/><Relationship Id="rId7" Type="http://schemas.openxmlformats.org/officeDocument/2006/relationships/image" Target="../media/image2.emf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8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0.xml"/><Relationship Id="rId7" Type="http://schemas.openxmlformats.org/officeDocument/2006/relationships/image" Target="../media/image2.emf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3.xml"/><Relationship Id="rId7" Type="http://schemas.openxmlformats.org/officeDocument/2006/relationships/image" Target="../media/image2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4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36.xml"/><Relationship Id="rId7" Type="http://schemas.openxmlformats.org/officeDocument/2006/relationships/image" Target="../media/image2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7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9.xml"/><Relationship Id="rId7" Type="http://schemas.openxmlformats.org/officeDocument/2006/relationships/image" Target="../media/image2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0.xml"/><Relationship Id="rId9" Type="http://schemas.openxmlformats.org/officeDocument/2006/relationships/image" Target="../media/image11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42.xml"/><Relationship Id="rId7" Type="http://schemas.openxmlformats.org/officeDocument/2006/relationships/image" Target="../media/image2.emf"/><Relationship Id="rId2" Type="http://schemas.openxmlformats.org/officeDocument/2006/relationships/tags" Target="../tags/tag41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45.xml"/><Relationship Id="rId7" Type="http://schemas.openxmlformats.org/officeDocument/2006/relationships/image" Target="../media/image2.emf"/><Relationship Id="rId2" Type="http://schemas.openxmlformats.org/officeDocument/2006/relationships/tags" Target="../tags/tag44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6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48.xml"/><Relationship Id="rId7" Type="http://schemas.openxmlformats.org/officeDocument/2006/relationships/image" Target="../media/image2.emf"/><Relationship Id="rId2" Type="http://schemas.openxmlformats.org/officeDocument/2006/relationships/tags" Target="../tags/tag47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9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51.xml"/><Relationship Id="rId7" Type="http://schemas.openxmlformats.org/officeDocument/2006/relationships/image" Target="../media/image2.emf"/><Relationship Id="rId2" Type="http://schemas.openxmlformats.org/officeDocument/2006/relationships/tags" Target="../tags/tag5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13.emf"/><Relationship Id="rId4" Type="http://schemas.openxmlformats.org/officeDocument/2006/relationships/tags" Target="../tags/tag52.xml"/><Relationship Id="rId9" Type="http://schemas.openxmlformats.org/officeDocument/2006/relationships/image" Target="../media/image1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54.xml"/><Relationship Id="rId7" Type="http://schemas.openxmlformats.org/officeDocument/2006/relationships/image" Target="../media/image2.emf"/><Relationship Id="rId2" Type="http://schemas.openxmlformats.org/officeDocument/2006/relationships/tags" Target="../tags/tag53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5.xml"/><Relationship Id="rId9" Type="http://schemas.openxmlformats.org/officeDocument/2006/relationships/image" Target="../media/image14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7.xml"/><Relationship Id="rId7" Type="http://schemas.openxmlformats.org/officeDocument/2006/relationships/oleObject" Target="../embeddings/oleObject18.bin"/><Relationship Id="rId2" Type="http://schemas.openxmlformats.org/officeDocument/2006/relationships/tags" Target="../tags/tag5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5.emf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8.xml"/><Relationship Id="rId9" Type="http://schemas.openxmlformats.org/officeDocument/2006/relationships/image" Target="../media/image11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0.xml"/><Relationship Id="rId7" Type="http://schemas.openxmlformats.org/officeDocument/2006/relationships/oleObject" Target="../embeddings/oleObject19.bin"/><Relationship Id="rId2" Type="http://schemas.openxmlformats.org/officeDocument/2006/relationships/tags" Target="../tags/tag5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6.emf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1.xml"/><Relationship Id="rId9" Type="http://schemas.openxmlformats.org/officeDocument/2006/relationships/image" Target="../media/image11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3.xml"/><Relationship Id="rId7" Type="http://schemas.openxmlformats.org/officeDocument/2006/relationships/oleObject" Target="../embeddings/oleObject20.bin"/><Relationship Id="rId2" Type="http://schemas.openxmlformats.org/officeDocument/2006/relationships/tags" Target="../tags/tag6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7.emf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4.xml"/><Relationship Id="rId9" Type="http://schemas.openxmlformats.org/officeDocument/2006/relationships/image" Target="../media/image11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6.xml"/><Relationship Id="rId7" Type="http://schemas.openxmlformats.org/officeDocument/2006/relationships/oleObject" Target="../embeddings/oleObject21.bin"/><Relationship Id="rId2" Type="http://schemas.openxmlformats.org/officeDocument/2006/relationships/tags" Target="../tags/tag6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8.emf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7.xml"/><Relationship Id="rId9" Type="http://schemas.openxmlformats.org/officeDocument/2006/relationships/image" Target="../media/image11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9.xml"/><Relationship Id="rId7" Type="http://schemas.openxmlformats.org/officeDocument/2006/relationships/oleObject" Target="../embeddings/oleObject22.bin"/><Relationship Id="rId2" Type="http://schemas.openxmlformats.org/officeDocument/2006/relationships/tags" Target="../tags/tag6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9.png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0.xml"/><Relationship Id="rId9" Type="http://schemas.openxmlformats.org/officeDocument/2006/relationships/image" Target="../media/image11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72.xml"/><Relationship Id="rId7" Type="http://schemas.openxmlformats.org/officeDocument/2006/relationships/image" Target="../media/image2.emf"/><Relationship Id="rId2" Type="http://schemas.openxmlformats.org/officeDocument/2006/relationships/tags" Target="../tags/tag71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75.xml"/><Relationship Id="rId7" Type="http://schemas.openxmlformats.org/officeDocument/2006/relationships/image" Target="../media/image2.emf"/><Relationship Id="rId2" Type="http://schemas.openxmlformats.org/officeDocument/2006/relationships/tags" Target="../tags/tag74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6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78.xml"/><Relationship Id="rId7" Type="http://schemas.openxmlformats.org/officeDocument/2006/relationships/image" Target="../media/image2.emf"/><Relationship Id="rId2" Type="http://schemas.openxmlformats.org/officeDocument/2006/relationships/tags" Target="../tags/tag77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9.xml"/><Relationship Id="rId9" Type="http://schemas.openxmlformats.org/officeDocument/2006/relationships/image" Target="../media/image22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3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3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5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6E26EA-3EE3-44F0-B70F-FD353C0EC144}" type="datetime1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8/19/2020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pag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pPr/>
              <a:t>‹#›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5808520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CD333-81CC-4304-ADD0-5BAF8B0AFBB1}" type="datetime1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8/19/2020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pag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pPr/>
              <a:t>‹#›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7539180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E0E0EF-B673-4531-AE34-6098E634ADE1}" type="datetime1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8/19/2020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pag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pPr/>
              <a:t>‹#›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41631232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Page heading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 bwMode="gray">
          <a:xfrm>
            <a:off x="336068" y="1268414"/>
            <a:ext cx="5672015" cy="974626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6183930" y="1268414"/>
            <a:ext cx="5672015" cy="974626"/>
          </a:xfrm>
        </p:spPr>
        <p:txBody>
          <a:bodyPr/>
          <a:lstStyle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 bwMode="gray">
          <a:xfrm>
            <a:off x="11762305" y="6598809"/>
            <a:ext cx="76944" cy="9233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83">
              <a:defRPr/>
            </a:pPr>
            <a:fld id="{ABCBD5CE-FE55-485E-BA6D-0BE96853AB9F}" type="slidenum">
              <a:rPr lang="en-GB" sz="600" smtClean="0">
                <a:solidFill>
                  <a:prstClr val="white"/>
                </a:solidFill>
                <a:latin typeface="Arial Narrow" pitchFamily="34" charset="0"/>
              </a:rPr>
              <a:pPr defTabSz="685783">
                <a:defRPr/>
              </a:pPr>
              <a:t>‹#›</a:t>
            </a:fld>
            <a:endParaRPr lang="en-GB" sz="600" dirty="0">
              <a:solidFill>
                <a:prstClr val="white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19433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8CD7068B-2DB9-478D-A6C4-5D3469B2F5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92703" y="0"/>
            <a:ext cx="3598695" cy="6858001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  <p:txBody>
          <a:bodyPr/>
          <a:lstStyle>
            <a:lvl1pPr marL="0" indent="0" algn="ctr">
              <a:buNone/>
              <a:defRPr sz="17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A21E145-E809-4B13-AABA-E91C67C27477}"/>
              </a:ext>
            </a:extLst>
          </p:cNvPr>
          <p:cNvGrpSpPr/>
          <p:nvPr userDrawn="1"/>
        </p:nvGrpSpPr>
        <p:grpSpPr>
          <a:xfrm>
            <a:off x="1156970" y="6332152"/>
            <a:ext cx="2236446" cy="226985"/>
            <a:chOff x="1173828" y="9898598"/>
            <a:chExt cx="3572782" cy="363176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0615D5D-E06F-4ADD-BF0A-9152119923E4}"/>
                </a:ext>
              </a:extLst>
            </p:cNvPr>
            <p:cNvSpPr txBox="1"/>
            <p:nvPr/>
          </p:nvSpPr>
          <p:spPr>
            <a:xfrm>
              <a:off x="1173828" y="9898598"/>
              <a:ext cx="3572782" cy="3631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875" spc="188" dirty="0">
                  <a:solidFill>
                    <a:schemeClr val="bg1"/>
                  </a:solidFill>
                  <a:latin typeface="Montserrat" panose="00000500000000000000" pitchFamily="50" charset="0"/>
                  <a:ea typeface="Roboto Condensed" panose="02000000000000000000" pitchFamily="2" charset="0"/>
                  <a:cs typeface="Segoe UI" panose="020B0502040204020203" pitchFamily="34" charset="0"/>
                </a:rPr>
                <a:t>IMAGINE  </a:t>
              </a:r>
              <a:r>
                <a:rPr lang="en-US" sz="875" spc="188" dirty="0">
                  <a:solidFill>
                    <a:schemeClr val="bg1">
                      <a:lumMod val="85000"/>
                      <a:alpha val="35000"/>
                    </a:schemeClr>
                  </a:solidFill>
                  <a:latin typeface="Montserrat Light" panose="00000400000000000000" pitchFamily="50" charset="0"/>
                  <a:ea typeface="Roboto Condensed" panose="02000000000000000000" pitchFamily="2" charset="0"/>
                  <a:cs typeface="Segoe UI" panose="020B0502040204020203" pitchFamily="34" charset="0"/>
                </a:rPr>
                <a:t>2017.ALL RIGHTS</a:t>
              </a:r>
              <a:endParaRPr lang="id-ID" sz="875" spc="188" dirty="0">
                <a:solidFill>
                  <a:schemeClr val="bg1">
                    <a:lumMod val="85000"/>
                    <a:alpha val="35000"/>
                  </a:schemeClr>
                </a:solidFill>
                <a:latin typeface="Montserrat Light" panose="00000400000000000000" pitchFamily="50" charset="0"/>
                <a:ea typeface="Roboto Condensed" panose="02000000000000000000" pitchFamily="2" charset="0"/>
                <a:cs typeface="Segoe UI" panose="020B0502040204020203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A1487F6-5BBA-446B-8F0E-CEF5ED120FBF}"/>
                </a:ext>
              </a:extLst>
            </p:cNvPr>
            <p:cNvSpPr/>
            <p:nvPr userDrawn="1"/>
          </p:nvSpPr>
          <p:spPr>
            <a:xfrm>
              <a:off x="2419751" y="9982564"/>
              <a:ext cx="10800" cy="149367"/>
            </a:xfrm>
            <a:prstGeom prst="rect">
              <a:avLst/>
            </a:prstGeom>
            <a:solidFill>
              <a:schemeClr val="bg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sz="1125" dirty="0">
                <a:solidFill>
                  <a:schemeClr val="lt1">
                    <a:alpha val="35000"/>
                  </a:schemeClr>
                </a:solidFill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C8C78B8-07B5-4212-8111-B41D85CF4D80}"/>
              </a:ext>
            </a:extLst>
          </p:cNvPr>
          <p:cNvSpPr txBox="1"/>
          <p:nvPr userDrawn="1"/>
        </p:nvSpPr>
        <p:spPr>
          <a:xfrm rot="16200000" flipH="1">
            <a:off x="-808967" y="3315508"/>
            <a:ext cx="2227243" cy="226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d-ID" sz="875" strike="noStrike" spc="375" dirty="0">
                <a:solidFill>
                  <a:schemeClr val="bg1">
                    <a:alpha val="35000"/>
                  </a:schemeClr>
                </a:solidFill>
                <a:latin typeface="Montserrat Light" panose="00000400000000000000" pitchFamily="50" charset="0"/>
                <a:ea typeface="Roboto Condensed" panose="02000000000000000000" pitchFamily="2" charset="0"/>
                <a:cs typeface="Segoe UI" panose="020B0502040204020203" pitchFamily="34" charset="0"/>
              </a:rPr>
              <a:t>WWW.WEBSITE.COM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0360DF3-B47C-4FDA-99A1-422B7058E903}"/>
              </a:ext>
            </a:extLst>
          </p:cNvPr>
          <p:cNvGrpSpPr/>
          <p:nvPr userDrawn="1"/>
        </p:nvGrpSpPr>
        <p:grpSpPr>
          <a:xfrm>
            <a:off x="11624659" y="2943383"/>
            <a:ext cx="198146" cy="971236"/>
            <a:chOff x="15428633" y="4561123"/>
            <a:chExt cx="388619" cy="1907805"/>
          </a:xfrm>
        </p:grpSpPr>
        <p:sp>
          <p:nvSpPr>
            <p:cNvPr id="20" name="Freeform 85">
              <a:extLst>
                <a:ext uri="{FF2B5EF4-FFF2-40B4-BE49-F238E27FC236}">
                  <a16:creationId xmlns:a16="http://schemas.microsoft.com/office/drawing/2014/main" id="{ADFD5FBB-633C-4783-BFCE-6218E7029DD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5448546" y="5390938"/>
              <a:ext cx="348793" cy="280359"/>
            </a:xfrm>
            <a:custGeom>
              <a:avLst/>
              <a:gdLst>
                <a:gd name="T0" fmla="*/ 250282 w 462"/>
                <a:gd name="T1" fmla="*/ 24258 h 374"/>
                <a:gd name="T2" fmla="*/ 250282 w 462"/>
                <a:gd name="T3" fmla="*/ 24258 h 374"/>
                <a:gd name="T4" fmla="*/ 221508 w 462"/>
                <a:gd name="T5" fmla="*/ 33962 h 374"/>
                <a:gd name="T6" fmla="*/ 240510 w 462"/>
                <a:gd name="T7" fmla="*/ 5391 h 374"/>
                <a:gd name="T8" fmla="*/ 211192 w 462"/>
                <a:gd name="T9" fmla="*/ 19407 h 374"/>
                <a:gd name="T10" fmla="*/ 173189 w 462"/>
                <a:gd name="T11" fmla="*/ 0 h 374"/>
                <a:gd name="T12" fmla="*/ 119983 w 462"/>
                <a:gd name="T13" fmla="*/ 52829 h 374"/>
                <a:gd name="T14" fmla="*/ 124870 w 462"/>
                <a:gd name="T15" fmla="*/ 62532 h 374"/>
                <a:gd name="T16" fmla="*/ 19002 w 462"/>
                <a:gd name="T17" fmla="*/ 10242 h 374"/>
                <a:gd name="T18" fmla="*/ 9229 w 462"/>
                <a:gd name="T19" fmla="*/ 38813 h 374"/>
                <a:gd name="T20" fmla="*/ 33118 w 462"/>
                <a:gd name="T21" fmla="*/ 81400 h 374"/>
                <a:gd name="T22" fmla="*/ 9229 w 462"/>
                <a:gd name="T23" fmla="*/ 72236 h 374"/>
                <a:gd name="T24" fmla="*/ 9229 w 462"/>
                <a:gd name="T25" fmla="*/ 72236 h 374"/>
                <a:gd name="T26" fmla="*/ 53205 w 462"/>
                <a:gd name="T27" fmla="*/ 124526 h 374"/>
                <a:gd name="T28" fmla="*/ 38004 w 462"/>
                <a:gd name="T29" fmla="*/ 124526 h 374"/>
                <a:gd name="T30" fmla="*/ 28774 w 462"/>
                <a:gd name="T31" fmla="*/ 124526 h 374"/>
                <a:gd name="T32" fmla="*/ 77093 w 462"/>
                <a:gd name="T33" fmla="*/ 158487 h 374"/>
                <a:gd name="T34" fmla="*/ 14116 w 462"/>
                <a:gd name="T35" fmla="*/ 182206 h 374"/>
                <a:gd name="T36" fmla="*/ 0 w 462"/>
                <a:gd name="T37" fmla="*/ 182206 h 374"/>
                <a:gd name="T38" fmla="*/ 77093 w 462"/>
                <a:gd name="T39" fmla="*/ 201074 h 374"/>
                <a:gd name="T40" fmla="*/ 221508 w 462"/>
                <a:gd name="T41" fmla="*/ 57681 h 374"/>
                <a:gd name="T42" fmla="*/ 221508 w 462"/>
                <a:gd name="T43" fmla="*/ 52829 h 374"/>
                <a:gd name="T44" fmla="*/ 250282 w 462"/>
                <a:gd name="T45" fmla="*/ 24258 h 3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62" h="374">
                  <a:moveTo>
                    <a:pt x="461" y="45"/>
                  </a:moveTo>
                  <a:lnTo>
                    <a:pt x="461" y="45"/>
                  </a:lnTo>
                  <a:cubicBezTo>
                    <a:pt x="443" y="54"/>
                    <a:pt x="425" y="63"/>
                    <a:pt x="408" y="63"/>
                  </a:cubicBezTo>
                  <a:cubicBezTo>
                    <a:pt x="425" y="54"/>
                    <a:pt x="443" y="36"/>
                    <a:pt x="443" y="10"/>
                  </a:cubicBezTo>
                  <a:cubicBezTo>
                    <a:pt x="425" y="19"/>
                    <a:pt x="408" y="27"/>
                    <a:pt x="389" y="36"/>
                  </a:cubicBezTo>
                  <a:cubicBezTo>
                    <a:pt x="372" y="19"/>
                    <a:pt x="345" y="0"/>
                    <a:pt x="319" y="0"/>
                  </a:cubicBezTo>
                  <a:cubicBezTo>
                    <a:pt x="265" y="0"/>
                    <a:pt x="221" y="45"/>
                    <a:pt x="221" y="98"/>
                  </a:cubicBezTo>
                  <a:cubicBezTo>
                    <a:pt x="221" y="107"/>
                    <a:pt x="221" y="116"/>
                    <a:pt x="230" y="116"/>
                  </a:cubicBezTo>
                  <a:cubicBezTo>
                    <a:pt x="151" y="116"/>
                    <a:pt x="79" y="81"/>
                    <a:pt x="35" y="19"/>
                  </a:cubicBezTo>
                  <a:cubicBezTo>
                    <a:pt x="26" y="36"/>
                    <a:pt x="17" y="54"/>
                    <a:pt x="17" y="72"/>
                  </a:cubicBezTo>
                  <a:cubicBezTo>
                    <a:pt x="17" y="98"/>
                    <a:pt x="35" y="134"/>
                    <a:pt x="61" y="151"/>
                  </a:cubicBezTo>
                  <a:cubicBezTo>
                    <a:pt x="44" y="143"/>
                    <a:pt x="35" y="143"/>
                    <a:pt x="17" y="134"/>
                  </a:cubicBezTo>
                  <a:cubicBezTo>
                    <a:pt x="17" y="178"/>
                    <a:pt x="53" y="222"/>
                    <a:pt x="98" y="231"/>
                  </a:cubicBezTo>
                  <a:cubicBezTo>
                    <a:pt x="89" y="231"/>
                    <a:pt x="79" y="231"/>
                    <a:pt x="70" y="231"/>
                  </a:cubicBezTo>
                  <a:cubicBezTo>
                    <a:pt x="61" y="231"/>
                    <a:pt x="61" y="231"/>
                    <a:pt x="53" y="231"/>
                  </a:cubicBezTo>
                  <a:cubicBezTo>
                    <a:pt x="61" y="266"/>
                    <a:pt x="98" y="294"/>
                    <a:pt x="142" y="294"/>
                  </a:cubicBezTo>
                  <a:cubicBezTo>
                    <a:pt x="106" y="319"/>
                    <a:pt x="70" y="338"/>
                    <a:pt x="26" y="338"/>
                  </a:cubicBezTo>
                  <a:cubicBezTo>
                    <a:pt x="17" y="338"/>
                    <a:pt x="8" y="338"/>
                    <a:pt x="0" y="338"/>
                  </a:cubicBezTo>
                  <a:cubicBezTo>
                    <a:pt x="44" y="364"/>
                    <a:pt x="89" y="373"/>
                    <a:pt x="142" y="373"/>
                  </a:cubicBezTo>
                  <a:cubicBezTo>
                    <a:pt x="319" y="373"/>
                    <a:pt x="408" y="231"/>
                    <a:pt x="408" y="107"/>
                  </a:cubicBezTo>
                  <a:lnTo>
                    <a:pt x="408" y="98"/>
                  </a:lnTo>
                  <a:cubicBezTo>
                    <a:pt x="434" y="81"/>
                    <a:pt x="443" y="72"/>
                    <a:pt x="461" y="45"/>
                  </a:cubicBezTo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  <a:effectLst/>
          </p:spPr>
          <p:txBody>
            <a:bodyPr wrap="none" lIns="34290" tIns="17145" rIns="34290" bIns="17145" anchor="ctr"/>
            <a:lstStyle/>
            <a:p>
              <a:endParaRPr lang="en-US" sz="1125" dirty="0">
                <a:solidFill>
                  <a:schemeClr val="bg1">
                    <a:alpha val="70000"/>
                  </a:schemeClr>
                </a:solidFill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78D01229-0356-4D21-B67C-276F28A838FC}"/>
                </a:ext>
              </a:extLst>
            </p:cNvPr>
            <p:cNvGrpSpPr/>
            <p:nvPr userDrawn="1"/>
          </p:nvGrpSpPr>
          <p:grpSpPr>
            <a:xfrm>
              <a:off x="15428633" y="6172173"/>
              <a:ext cx="388619" cy="296755"/>
              <a:chOff x="10541000" y="3240088"/>
              <a:chExt cx="1282701" cy="979487"/>
            </a:xfrm>
            <a:solidFill>
              <a:schemeClr val="bg1">
                <a:alpha val="25000"/>
              </a:schemeClr>
            </a:solidFill>
          </p:grpSpPr>
          <p:sp>
            <p:nvSpPr>
              <p:cNvPr id="23" name="Freeform 5">
                <a:extLst>
                  <a:ext uri="{FF2B5EF4-FFF2-40B4-BE49-F238E27FC236}">
                    <a16:creationId xmlns:a16="http://schemas.microsoft.com/office/drawing/2014/main" id="{7A1DBBC2-8BBB-4C91-BAE4-7AAA67337A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541000" y="3240088"/>
                <a:ext cx="984250" cy="979487"/>
              </a:xfrm>
              <a:custGeom>
                <a:avLst/>
                <a:gdLst>
                  <a:gd name="T0" fmla="*/ 2709 w 2709"/>
                  <a:gd name="T1" fmla="*/ 1204 h 2709"/>
                  <a:gd name="T2" fmla="*/ 1445 w 2709"/>
                  <a:gd name="T3" fmla="*/ 1204 h 2709"/>
                  <a:gd name="T4" fmla="*/ 1445 w 2709"/>
                  <a:gd name="T5" fmla="*/ 1626 h 2709"/>
                  <a:gd name="T6" fmla="*/ 2216 w 2709"/>
                  <a:gd name="T7" fmla="*/ 1626 h 2709"/>
                  <a:gd name="T8" fmla="*/ 1355 w 2709"/>
                  <a:gd name="T9" fmla="*/ 2258 h 2709"/>
                  <a:gd name="T10" fmla="*/ 452 w 2709"/>
                  <a:gd name="T11" fmla="*/ 1355 h 2709"/>
                  <a:gd name="T12" fmla="*/ 1355 w 2709"/>
                  <a:gd name="T13" fmla="*/ 452 h 2709"/>
                  <a:gd name="T14" fmla="*/ 1997 w 2709"/>
                  <a:gd name="T15" fmla="*/ 720 h 2709"/>
                  <a:gd name="T16" fmla="*/ 2303 w 2709"/>
                  <a:gd name="T17" fmla="*/ 387 h 2709"/>
                  <a:gd name="T18" fmla="*/ 1355 w 2709"/>
                  <a:gd name="T19" fmla="*/ 0 h 2709"/>
                  <a:gd name="T20" fmla="*/ 0 w 2709"/>
                  <a:gd name="T21" fmla="*/ 1355 h 2709"/>
                  <a:gd name="T22" fmla="*/ 1355 w 2709"/>
                  <a:gd name="T23" fmla="*/ 2709 h 2709"/>
                  <a:gd name="T24" fmla="*/ 2709 w 2709"/>
                  <a:gd name="T25" fmla="*/ 1626 h 2709"/>
                  <a:gd name="T26" fmla="*/ 2709 w 2709"/>
                  <a:gd name="T27" fmla="*/ 1204 h 2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709" h="2709">
                    <a:moveTo>
                      <a:pt x="2709" y="1204"/>
                    </a:moveTo>
                    <a:lnTo>
                      <a:pt x="1445" y="1204"/>
                    </a:lnTo>
                    <a:lnTo>
                      <a:pt x="1445" y="1626"/>
                    </a:lnTo>
                    <a:lnTo>
                      <a:pt x="2216" y="1626"/>
                    </a:lnTo>
                    <a:cubicBezTo>
                      <a:pt x="2101" y="1992"/>
                      <a:pt x="1759" y="2258"/>
                      <a:pt x="1355" y="2258"/>
                    </a:cubicBezTo>
                    <a:cubicBezTo>
                      <a:pt x="856" y="2258"/>
                      <a:pt x="452" y="1854"/>
                      <a:pt x="452" y="1355"/>
                    </a:cubicBezTo>
                    <a:cubicBezTo>
                      <a:pt x="452" y="856"/>
                      <a:pt x="856" y="452"/>
                      <a:pt x="1355" y="452"/>
                    </a:cubicBezTo>
                    <a:cubicBezTo>
                      <a:pt x="1606" y="452"/>
                      <a:pt x="1833" y="554"/>
                      <a:pt x="1997" y="720"/>
                    </a:cubicBezTo>
                    <a:lnTo>
                      <a:pt x="2303" y="387"/>
                    </a:lnTo>
                    <a:cubicBezTo>
                      <a:pt x="2058" y="148"/>
                      <a:pt x="1724" y="0"/>
                      <a:pt x="1355" y="0"/>
                    </a:cubicBezTo>
                    <a:cubicBezTo>
                      <a:pt x="607" y="0"/>
                      <a:pt x="0" y="607"/>
                      <a:pt x="0" y="1355"/>
                    </a:cubicBezTo>
                    <a:cubicBezTo>
                      <a:pt x="0" y="2103"/>
                      <a:pt x="607" y="2709"/>
                      <a:pt x="1355" y="2709"/>
                    </a:cubicBezTo>
                    <a:cubicBezTo>
                      <a:pt x="2010" y="2709"/>
                      <a:pt x="2584" y="2244"/>
                      <a:pt x="2709" y="1626"/>
                    </a:cubicBezTo>
                    <a:lnTo>
                      <a:pt x="2709" y="12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125"/>
              </a:p>
            </p:txBody>
          </p:sp>
          <p:sp>
            <p:nvSpPr>
              <p:cNvPr id="24" name="Freeform 6">
                <a:extLst>
                  <a:ext uri="{FF2B5EF4-FFF2-40B4-BE49-F238E27FC236}">
                    <a16:creationId xmlns:a16="http://schemas.microsoft.com/office/drawing/2014/main" id="{5E9F3612-9648-4A56-9553-D066787EFA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555413" y="3581400"/>
                <a:ext cx="268288" cy="268287"/>
              </a:xfrm>
              <a:custGeom>
                <a:avLst/>
                <a:gdLst>
                  <a:gd name="T0" fmla="*/ 739 w 739"/>
                  <a:gd name="T1" fmla="*/ 258 h 739"/>
                  <a:gd name="T2" fmla="*/ 480 w 739"/>
                  <a:gd name="T3" fmla="*/ 258 h 739"/>
                  <a:gd name="T4" fmla="*/ 480 w 739"/>
                  <a:gd name="T5" fmla="*/ 0 h 739"/>
                  <a:gd name="T6" fmla="*/ 258 w 739"/>
                  <a:gd name="T7" fmla="*/ 0 h 739"/>
                  <a:gd name="T8" fmla="*/ 258 w 739"/>
                  <a:gd name="T9" fmla="*/ 258 h 739"/>
                  <a:gd name="T10" fmla="*/ 0 w 739"/>
                  <a:gd name="T11" fmla="*/ 258 h 739"/>
                  <a:gd name="T12" fmla="*/ 0 w 739"/>
                  <a:gd name="T13" fmla="*/ 480 h 739"/>
                  <a:gd name="T14" fmla="*/ 258 w 739"/>
                  <a:gd name="T15" fmla="*/ 480 h 739"/>
                  <a:gd name="T16" fmla="*/ 258 w 739"/>
                  <a:gd name="T17" fmla="*/ 739 h 739"/>
                  <a:gd name="T18" fmla="*/ 480 w 739"/>
                  <a:gd name="T19" fmla="*/ 739 h 739"/>
                  <a:gd name="T20" fmla="*/ 480 w 739"/>
                  <a:gd name="T21" fmla="*/ 480 h 739"/>
                  <a:gd name="T22" fmla="*/ 739 w 739"/>
                  <a:gd name="T23" fmla="*/ 480 h 739"/>
                  <a:gd name="T24" fmla="*/ 739 w 739"/>
                  <a:gd name="T25" fmla="*/ 258 h 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39" h="739">
                    <a:moveTo>
                      <a:pt x="739" y="258"/>
                    </a:moveTo>
                    <a:lnTo>
                      <a:pt x="480" y="258"/>
                    </a:lnTo>
                    <a:lnTo>
                      <a:pt x="480" y="0"/>
                    </a:lnTo>
                    <a:lnTo>
                      <a:pt x="258" y="0"/>
                    </a:lnTo>
                    <a:lnTo>
                      <a:pt x="258" y="258"/>
                    </a:lnTo>
                    <a:lnTo>
                      <a:pt x="0" y="258"/>
                    </a:lnTo>
                    <a:lnTo>
                      <a:pt x="0" y="480"/>
                    </a:lnTo>
                    <a:lnTo>
                      <a:pt x="258" y="480"/>
                    </a:lnTo>
                    <a:lnTo>
                      <a:pt x="258" y="739"/>
                    </a:lnTo>
                    <a:lnTo>
                      <a:pt x="480" y="739"/>
                    </a:lnTo>
                    <a:lnTo>
                      <a:pt x="480" y="480"/>
                    </a:lnTo>
                    <a:lnTo>
                      <a:pt x="739" y="480"/>
                    </a:lnTo>
                    <a:lnTo>
                      <a:pt x="739" y="25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125"/>
              </a:p>
            </p:txBody>
          </p:sp>
        </p:grpSp>
        <p:sp>
          <p:nvSpPr>
            <p:cNvPr id="22" name="Freeform 75">
              <a:extLst>
                <a:ext uri="{FF2B5EF4-FFF2-40B4-BE49-F238E27FC236}">
                  <a16:creationId xmlns:a16="http://schemas.microsoft.com/office/drawing/2014/main" id="{09C260E1-4CD7-4322-B810-2EBE59FBDE2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5534382" y="4561123"/>
              <a:ext cx="177121" cy="328939"/>
            </a:xfrm>
            <a:custGeom>
              <a:avLst/>
              <a:gdLst>
                <a:gd name="T0" fmla="*/ 132814 w 249"/>
                <a:gd name="T1" fmla="*/ 43735 h 453"/>
                <a:gd name="T2" fmla="*/ 132814 w 249"/>
                <a:gd name="T3" fmla="*/ 43735 h 453"/>
                <a:gd name="T4" fmla="*/ 94791 w 249"/>
                <a:gd name="T5" fmla="*/ 43735 h 453"/>
                <a:gd name="T6" fmla="*/ 85687 w 249"/>
                <a:gd name="T7" fmla="*/ 58496 h 453"/>
                <a:gd name="T8" fmla="*/ 85687 w 249"/>
                <a:gd name="T9" fmla="*/ 87470 h 453"/>
                <a:gd name="T10" fmla="*/ 132814 w 249"/>
                <a:gd name="T11" fmla="*/ 87470 h 453"/>
                <a:gd name="T12" fmla="*/ 132814 w 249"/>
                <a:gd name="T13" fmla="*/ 126285 h 453"/>
                <a:gd name="T14" fmla="*/ 85687 w 249"/>
                <a:gd name="T15" fmla="*/ 126285 h 453"/>
                <a:gd name="T16" fmla="*/ 85687 w 249"/>
                <a:gd name="T17" fmla="*/ 247103 h 453"/>
                <a:gd name="T18" fmla="*/ 42308 w 249"/>
                <a:gd name="T19" fmla="*/ 247103 h 453"/>
                <a:gd name="T20" fmla="*/ 42308 w 249"/>
                <a:gd name="T21" fmla="*/ 126285 h 453"/>
                <a:gd name="T22" fmla="*/ 0 w 249"/>
                <a:gd name="T23" fmla="*/ 126285 h 453"/>
                <a:gd name="T24" fmla="*/ 0 w 249"/>
                <a:gd name="T25" fmla="*/ 87470 h 453"/>
                <a:gd name="T26" fmla="*/ 42308 w 249"/>
                <a:gd name="T27" fmla="*/ 87470 h 453"/>
                <a:gd name="T28" fmla="*/ 42308 w 249"/>
                <a:gd name="T29" fmla="*/ 63416 h 453"/>
                <a:gd name="T30" fmla="*/ 94791 w 249"/>
                <a:gd name="T31" fmla="*/ 0 h 453"/>
                <a:gd name="T32" fmla="*/ 132814 w 249"/>
                <a:gd name="T33" fmla="*/ 0 h 453"/>
                <a:gd name="T34" fmla="*/ 132814 w 249"/>
                <a:gd name="T35" fmla="*/ 43735 h 4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49" h="453">
                  <a:moveTo>
                    <a:pt x="248" y="80"/>
                  </a:moveTo>
                  <a:lnTo>
                    <a:pt x="248" y="80"/>
                  </a:lnTo>
                  <a:cubicBezTo>
                    <a:pt x="177" y="80"/>
                    <a:pt x="177" y="80"/>
                    <a:pt x="177" y="80"/>
                  </a:cubicBezTo>
                  <a:cubicBezTo>
                    <a:pt x="169" y="80"/>
                    <a:pt x="160" y="89"/>
                    <a:pt x="160" y="107"/>
                  </a:cubicBezTo>
                  <a:cubicBezTo>
                    <a:pt x="160" y="160"/>
                    <a:pt x="160" y="160"/>
                    <a:pt x="160" y="160"/>
                  </a:cubicBezTo>
                  <a:cubicBezTo>
                    <a:pt x="248" y="160"/>
                    <a:pt x="248" y="160"/>
                    <a:pt x="248" y="160"/>
                  </a:cubicBezTo>
                  <a:cubicBezTo>
                    <a:pt x="248" y="231"/>
                    <a:pt x="248" y="231"/>
                    <a:pt x="248" y="231"/>
                  </a:cubicBezTo>
                  <a:cubicBezTo>
                    <a:pt x="160" y="231"/>
                    <a:pt x="160" y="231"/>
                    <a:pt x="160" y="231"/>
                  </a:cubicBezTo>
                  <a:cubicBezTo>
                    <a:pt x="160" y="452"/>
                    <a:pt x="160" y="452"/>
                    <a:pt x="160" y="452"/>
                  </a:cubicBezTo>
                  <a:cubicBezTo>
                    <a:pt x="79" y="452"/>
                    <a:pt x="79" y="452"/>
                    <a:pt x="79" y="452"/>
                  </a:cubicBezTo>
                  <a:cubicBezTo>
                    <a:pt x="79" y="231"/>
                    <a:pt x="79" y="231"/>
                    <a:pt x="79" y="231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79" y="160"/>
                    <a:pt x="79" y="160"/>
                    <a:pt x="79" y="160"/>
                  </a:cubicBezTo>
                  <a:cubicBezTo>
                    <a:pt x="79" y="116"/>
                    <a:pt x="79" y="116"/>
                    <a:pt x="79" y="116"/>
                  </a:cubicBezTo>
                  <a:cubicBezTo>
                    <a:pt x="79" y="54"/>
                    <a:pt x="115" y="0"/>
                    <a:pt x="177" y="0"/>
                  </a:cubicBezTo>
                  <a:cubicBezTo>
                    <a:pt x="248" y="0"/>
                    <a:pt x="248" y="0"/>
                    <a:pt x="248" y="0"/>
                  </a:cubicBezTo>
                  <a:lnTo>
                    <a:pt x="248" y="80"/>
                  </a:lnTo>
                </a:path>
              </a:pathLst>
            </a:custGeom>
            <a:solidFill>
              <a:schemeClr val="bg1">
                <a:alpha val="25000"/>
              </a:schemeClr>
            </a:solidFill>
            <a:ln>
              <a:noFill/>
            </a:ln>
            <a:effectLst/>
          </p:spPr>
          <p:txBody>
            <a:bodyPr wrap="none" lIns="34290" tIns="17145" rIns="34290" bIns="17145" anchor="ctr"/>
            <a:lstStyle/>
            <a:p>
              <a:endParaRPr lang="en-US" sz="1125" dirty="0">
                <a:solidFill>
                  <a:schemeClr val="bg1">
                    <a:lumMod val="85000"/>
                  </a:schemeClr>
                </a:solidFill>
              </a:endParaRPr>
            </a:p>
          </p:txBody>
        </p:sp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39927EF-B4E6-4803-BAA9-1B0A7E32CEE5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310" y="0"/>
            <a:ext cx="0" cy="6858000"/>
          </a:xfrm>
          <a:prstGeom prst="line">
            <a:avLst/>
          </a:prstGeom>
          <a:ln>
            <a:solidFill>
              <a:schemeClr val="bg1">
                <a:alpha val="4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86776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DE81EAB-D343-4CA3-9193-170BE84E6D4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858720" y="2851957"/>
            <a:ext cx="1066080" cy="1066080"/>
          </a:xfrm>
          <a:custGeom>
            <a:avLst/>
            <a:gdLst>
              <a:gd name="connsiteX0" fmla="*/ 618122 w 1236244"/>
              <a:gd name="connsiteY0" fmla="*/ 0 h 1236244"/>
              <a:gd name="connsiteX1" fmla="*/ 1236244 w 1236244"/>
              <a:gd name="connsiteY1" fmla="*/ 618122 h 1236244"/>
              <a:gd name="connsiteX2" fmla="*/ 618122 w 1236244"/>
              <a:gd name="connsiteY2" fmla="*/ 1236244 h 1236244"/>
              <a:gd name="connsiteX3" fmla="*/ 0 w 1236244"/>
              <a:gd name="connsiteY3" fmla="*/ 618122 h 1236244"/>
              <a:gd name="connsiteX4" fmla="*/ 618122 w 1236244"/>
              <a:gd name="connsiteY4" fmla="*/ 0 h 1236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6244" h="1236244">
                <a:moveTo>
                  <a:pt x="618122" y="0"/>
                </a:moveTo>
                <a:cubicBezTo>
                  <a:pt x="959501" y="0"/>
                  <a:pt x="1236244" y="276743"/>
                  <a:pt x="1236244" y="618122"/>
                </a:cubicBezTo>
                <a:cubicBezTo>
                  <a:pt x="1236244" y="959501"/>
                  <a:pt x="959501" y="1236244"/>
                  <a:pt x="618122" y="1236244"/>
                </a:cubicBezTo>
                <a:cubicBezTo>
                  <a:pt x="276743" y="1236244"/>
                  <a:pt x="0" y="959501"/>
                  <a:pt x="0" y="618122"/>
                </a:cubicBezTo>
                <a:cubicBezTo>
                  <a:pt x="0" y="276743"/>
                  <a:pt x="276743" y="0"/>
                  <a:pt x="61812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FD985B1-4F25-464B-861B-958E51D3167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858720" y="4433914"/>
            <a:ext cx="1066080" cy="1066080"/>
          </a:xfrm>
          <a:custGeom>
            <a:avLst/>
            <a:gdLst>
              <a:gd name="connsiteX0" fmla="*/ 618122 w 1236244"/>
              <a:gd name="connsiteY0" fmla="*/ 0 h 1236244"/>
              <a:gd name="connsiteX1" fmla="*/ 1236244 w 1236244"/>
              <a:gd name="connsiteY1" fmla="*/ 618122 h 1236244"/>
              <a:gd name="connsiteX2" fmla="*/ 618122 w 1236244"/>
              <a:gd name="connsiteY2" fmla="*/ 1236244 h 1236244"/>
              <a:gd name="connsiteX3" fmla="*/ 0 w 1236244"/>
              <a:gd name="connsiteY3" fmla="*/ 618122 h 1236244"/>
              <a:gd name="connsiteX4" fmla="*/ 618122 w 1236244"/>
              <a:gd name="connsiteY4" fmla="*/ 0 h 1236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6244" h="1236244">
                <a:moveTo>
                  <a:pt x="618122" y="0"/>
                </a:moveTo>
                <a:cubicBezTo>
                  <a:pt x="959501" y="0"/>
                  <a:pt x="1236244" y="276743"/>
                  <a:pt x="1236244" y="618122"/>
                </a:cubicBezTo>
                <a:cubicBezTo>
                  <a:pt x="1236244" y="959501"/>
                  <a:pt x="959501" y="1236244"/>
                  <a:pt x="618122" y="1236244"/>
                </a:cubicBezTo>
                <a:cubicBezTo>
                  <a:pt x="276743" y="1236244"/>
                  <a:pt x="0" y="959501"/>
                  <a:pt x="0" y="618122"/>
                </a:cubicBezTo>
                <a:cubicBezTo>
                  <a:pt x="0" y="276743"/>
                  <a:pt x="276743" y="0"/>
                  <a:pt x="61812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818C5232-BF57-49B6-9250-ED9299B31DC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45709" y="1270000"/>
            <a:ext cx="1066080" cy="1066080"/>
          </a:xfrm>
          <a:custGeom>
            <a:avLst/>
            <a:gdLst>
              <a:gd name="connsiteX0" fmla="*/ 618122 w 1236244"/>
              <a:gd name="connsiteY0" fmla="*/ 0 h 1236244"/>
              <a:gd name="connsiteX1" fmla="*/ 1236244 w 1236244"/>
              <a:gd name="connsiteY1" fmla="*/ 618122 h 1236244"/>
              <a:gd name="connsiteX2" fmla="*/ 618122 w 1236244"/>
              <a:gd name="connsiteY2" fmla="*/ 1236244 h 1236244"/>
              <a:gd name="connsiteX3" fmla="*/ 0 w 1236244"/>
              <a:gd name="connsiteY3" fmla="*/ 618122 h 1236244"/>
              <a:gd name="connsiteX4" fmla="*/ 618122 w 1236244"/>
              <a:gd name="connsiteY4" fmla="*/ 0 h 1236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6244" h="1236244">
                <a:moveTo>
                  <a:pt x="618122" y="0"/>
                </a:moveTo>
                <a:cubicBezTo>
                  <a:pt x="959501" y="0"/>
                  <a:pt x="1236244" y="276743"/>
                  <a:pt x="1236244" y="618122"/>
                </a:cubicBezTo>
                <a:cubicBezTo>
                  <a:pt x="1236244" y="959501"/>
                  <a:pt x="959501" y="1236244"/>
                  <a:pt x="618122" y="1236244"/>
                </a:cubicBezTo>
                <a:cubicBezTo>
                  <a:pt x="276743" y="1236244"/>
                  <a:pt x="0" y="959501"/>
                  <a:pt x="0" y="618122"/>
                </a:cubicBezTo>
                <a:cubicBezTo>
                  <a:pt x="0" y="276743"/>
                  <a:pt x="276743" y="0"/>
                  <a:pt x="61812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E6ECB0A-F874-4036-A7DF-5E8CF670C8F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45709" y="2851957"/>
            <a:ext cx="1066080" cy="1066080"/>
          </a:xfrm>
          <a:custGeom>
            <a:avLst/>
            <a:gdLst>
              <a:gd name="connsiteX0" fmla="*/ 618122 w 1236244"/>
              <a:gd name="connsiteY0" fmla="*/ 0 h 1236244"/>
              <a:gd name="connsiteX1" fmla="*/ 1236244 w 1236244"/>
              <a:gd name="connsiteY1" fmla="*/ 618122 h 1236244"/>
              <a:gd name="connsiteX2" fmla="*/ 618122 w 1236244"/>
              <a:gd name="connsiteY2" fmla="*/ 1236244 h 1236244"/>
              <a:gd name="connsiteX3" fmla="*/ 0 w 1236244"/>
              <a:gd name="connsiteY3" fmla="*/ 618122 h 1236244"/>
              <a:gd name="connsiteX4" fmla="*/ 618122 w 1236244"/>
              <a:gd name="connsiteY4" fmla="*/ 0 h 1236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6244" h="1236244">
                <a:moveTo>
                  <a:pt x="618122" y="0"/>
                </a:moveTo>
                <a:cubicBezTo>
                  <a:pt x="959501" y="0"/>
                  <a:pt x="1236244" y="276743"/>
                  <a:pt x="1236244" y="618122"/>
                </a:cubicBezTo>
                <a:cubicBezTo>
                  <a:pt x="1236244" y="959501"/>
                  <a:pt x="959501" y="1236244"/>
                  <a:pt x="618122" y="1236244"/>
                </a:cubicBezTo>
                <a:cubicBezTo>
                  <a:pt x="276743" y="1236244"/>
                  <a:pt x="0" y="959501"/>
                  <a:pt x="0" y="618122"/>
                </a:cubicBezTo>
                <a:cubicBezTo>
                  <a:pt x="0" y="276743"/>
                  <a:pt x="276743" y="0"/>
                  <a:pt x="61812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0AAE39E1-BD0C-435E-A453-540777491E1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545709" y="4433914"/>
            <a:ext cx="1066080" cy="1066080"/>
          </a:xfrm>
          <a:custGeom>
            <a:avLst/>
            <a:gdLst>
              <a:gd name="connsiteX0" fmla="*/ 618122 w 1236244"/>
              <a:gd name="connsiteY0" fmla="*/ 0 h 1236244"/>
              <a:gd name="connsiteX1" fmla="*/ 1236244 w 1236244"/>
              <a:gd name="connsiteY1" fmla="*/ 618122 h 1236244"/>
              <a:gd name="connsiteX2" fmla="*/ 618122 w 1236244"/>
              <a:gd name="connsiteY2" fmla="*/ 1236244 h 1236244"/>
              <a:gd name="connsiteX3" fmla="*/ 0 w 1236244"/>
              <a:gd name="connsiteY3" fmla="*/ 618122 h 1236244"/>
              <a:gd name="connsiteX4" fmla="*/ 618122 w 1236244"/>
              <a:gd name="connsiteY4" fmla="*/ 0 h 1236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6244" h="1236244">
                <a:moveTo>
                  <a:pt x="618122" y="0"/>
                </a:moveTo>
                <a:cubicBezTo>
                  <a:pt x="959501" y="0"/>
                  <a:pt x="1236244" y="276743"/>
                  <a:pt x="1236244" y="618122"/>
                </a:cubicBezTo>
                <a:cubicBezTo>
                  <a:pt x="1236244" y="959501"/>
                  <a:pt x="959501" y="1236244"/>
                  <a:pt x="618122" y="1236244"/>
                </a:cubicBezTo>
                <a:cubicBezTo>
                  <a:pt x="276743" y="1236244"/>
                  <a:pt x="0" y="959501"/>
                  <a:pt x="0" y="618122"/>
                </a:cubicBezTo>
                <a:cubicBezTo>
                  <a:pt x="0" y="276743"/>
                  <a:pt x="276743" y="0"/>
                  <a:pt x="61812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2DBEF0C-80A3-4C3B-A821-6D130B782B9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858720" y="1270000"/>
            <a:ext cx="1066080" cy="1066080"/>
          </a:xfrm>
          <a:custGeom>
            <a:avLst/>
            <a:gdLst>
              <a:gd name="connsiteX0" fmla="*/ 618122 w 1236244"/>
              <a:gd name="connsiteY0" fmla="*/ 0 h 1236244"/>
              <a:gd name="connsiteX1" fmla="*/ 1236244 w 1236244"/>
              <a:gd name="connsiteY1" fmla="*/ 618122 h 1236244"/>
              <a:gd name="connsiteX2" fmla="*/ 618122 w 1236244"/>
              <a:gd name="connsiteY2" fmla="*/ 1236244 h 1236244"/>
              <a:gd name="connsiteX3" fmla="*/ 0 w 1236244"/>
              <a:gd name="connsiteY3" fmla="*/ 618122 h 1236244"/>
              <a:gd name="connsiteX4" fmla="*/ 618122 w 1236244"/>
              <a:gd name="connsiteY4" fmla="*/ 0 h 1236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6244" h="1236244">
                <a:moveTo>
                  <a:pt x="618122" y="0"/>
                </a:moveTo>
                <a:cubicBezTo>
                  <a:pt x="959501" y="0"/>
                  <a:pt x="1236244" y="276743"/>
                  <a:pt x="1236244" y="618122"/>
                </a:cubicBezTo>
                <a:cubicBezTo>
                  <a:pt x="1236244" y="959501"/>
                  <a:pt x="959501" y="1236244"/>
                  <a:pt x="618122" y="1236244"/>
                </a:cubicBezTo>
                <a:cubicBezTo>
                  <a:pt x="276743" y="1236244"/>
                  <a:pt x="0" y="959501"/>
                  <a:pt x="0" y="618122"/>
                </a:cubicBezTo>
                <a:cubicBezTo>
                  <a:pt x="0" y="276743"/>
                  <a:pt x="276743" y="0"/>
                  <a:pt x="61812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3886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SDG 6 OFFICIAL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A4FCE70F-0A2D-B94E-A900-CB8389E5291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63128"/>
            <a:ext cx="12192000" cy="4131744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1.png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8939" y="355491"/>
            <a:ext cx="3411279" cy="848733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Shape 26"/>
          <p:cNvSpPr/>
          <p:nvPr userDrawn="1"/>
        </p:nvSpPr>
        <p:spPr>
          <a:xfrm>
            <a:off x="708935" y="4582930"/>
            <a:ext cx="11480948" cy="1677393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60940" tIns="60940" rIns="60940" bIns="60940" numCol="1" anchor="t">
            <a:noAutofit/>
          </a:bodyPr>
          <a:lstStyle/>
          <a:p>
            <a:pPr defTabSz="609402" fontAlgn="auto" hangingPunct="0">
              <a:spcBef>
                <a:spcPts val="0"/>
              </a:spcBef>
              <a:spcAft>
                <a:spcPts val="0"/>
              </a:spcAft>
              <a:defRPr sz="4000"/>
            </a:pPr>
            <a:endParaRPr sz="5332" b="0" kern="0">
              <a:solidFill>
                <a:srgbClr val="173E5B"/>
              </a:solidFill>
              <a:latin typeface="Bebas Kai"/>
              <a:sym typeface="Bebas Kai"/>
            </a:endParaRPr>
          </a:p>
        </p:txBody>
      </p:sp>
      <p:sp>
        <p:nvSpPr>
          <p:cNvPr id="14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5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Project name"/>
          <p:cNvSpPr>
            <a:spLocks noGrp="1"/>
          </p:cNvSpPr>
          <p:nvPr>
            <p:ph type="title" hasCustomPrompt="1"/>
          </p:nvPr>
        </p:nvSpPr>
        <p:spPr>
          <a:xfrm>
            <a:off x="962893" y="4684499"/>
            <a:ext cx="11480947" cy="1661609"/>
          </a:xfrm>
          <a:noFill/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spAutoFit/>
          </a:bodyPr>
          <a:lstStyle>
            <a:lvl1pPr>
              <a:lnSpc>
                <a:spcPct val="90000"/>
              </a:lnSpc>
              <a:defRPr lang="en-US" sz="6665" dirty="0">
                <a:solidFill>
                  <a:srgbClr val="173E5B"/>
                </a:solidFill>
              </a:defRPr>
            </a:lvl1pPr>
          </a:lstStyle>
          <a:p>
            <a:pPr lvl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document title BLUE (BEBAS KAI 50PT)</a:t>
            </a:r>
          </a:p>
        </p:txBody>
      </p:sp>
      <p:sp>
        <p:nvSpPr>
          <p:cNvPr id="19" name="Position Lines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43076" y="6886576"/>
            <a:ext cx="0" cy="72000"/>
          </a:xfrm>
          <a:prstGeom prst="line">
            <a:avLst/>
          </a:pr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</p:spPr>
        <p:txBody>
          <a:bodyPr lIns="103877" tIns="51940" rIns="103877" bIns="51940"/>
          <a:lstStyle/>
          <a:p>
            <a:endParaRPr lang="en-US" sz="1867" noProof="0" dirty="0">
              <a:latin typeface="+mn-lt"/>
              <a:sym typeface="+mn-lt"/>
            </a:endParaRPr>
          </a:p>
        </p:txBody>
      </p:sp>
      <p:sp>
        <p:nvSpPr>
          <p:cNvPr id="12" name="Location, date">
            <a:extLst>
              <a:ext uri="{FF2B5EF4-FFF2-40B4-BE49-F238E27FC236}">
                <a16:creationId xmlns:a16="http://schemas.microsoft.com/office/drawing/2014/main" id="{761F0ADE-5BCF-C341-B9EE-E37ED0FA99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1229" y="6563891"/>
            <a:ext cx="4167919" cy="184602"/>
          </a:xfrm>
        </p:spPr>
        <p:txBody>
          <a:bodyPr wrap="square" lIns="306822" tIns="0" rIns="214776" anchor="b" anchorCtr="0">
            <a:spAutoFit/>
          </a:bodyPr>
          <a:lstStyle>
            <a:lvl1pPr marL="0" marR="0" indent="0" algn="r" defTabSz="103876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sz="1333" baseline="0">
                <a:latin typeface="DIN Alternate" panose="020B0500000000000000" pitchFamily="34" charset="77"/>
                <a:sym typeface="+mn-lt"/>
              </a:defRPr>
            </a:lvl1pPr>
            <a:lvl2pPr algn="r">
              <a:defRPr/>
            </a:lvl2pPr>
          </a:lstStyle>
          <a:p>
            <a:pPr marL="0" marR="0" lvl="0" indent="0" algn="l" defTabSz="103876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r>
              <a:rPr lang="en-US" dirty="0"/>
              <a:t>Location, date of presentation (month, day, year)</a:t>
            </a:r>
          </a:p>
        </p:txBody>
      </p:sp>
    </p:spTree>
    <p:extLst>
      <p:ext uri="{BB962C8B-B14F-4D97-AF65-F5344CB8AC3E}">
        <p14:creationId xmlns:p14="http://schemas.microsoft.com/office/powerpoint/2010/main" val="20358021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SDG 7 OFFICIAL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6188CCDB-0A24-AE48-B9DC-9FB974B738C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17" y="1363128"/>
            <a:ext cx="12192000" cy="4131744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1.png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8939" y="355491"/>
            <a:ext cx="3411279" cy="848733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Shape 26"/>
          <p:cNvSpPr/>
          <p:nvPr userDrawn="1"/>
        </p:nvSpPr>
        <p:spPr>
          <a:xfrm>
            <a:off x="708935" y="4582929"/>
            <a:ext cx="11480948" cy="1810923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60940" tIns="60940" rIns="60940" bIns="60940" numCol="1" anchor="t">
            <a:noAutofit/>
          </a:bodyPr>
          <a:lstStyle/>
          <a:p>
            <a:pPr defTabSz="609402" fontAlgn="auto" hangingPunct="0">
              <a:spcBef>
                <a:spcPts val="0"/>
              </a:spcBef>
              <a:spcAft>
                <a:spcPts val="0"/>
              </a:spcAft>
              <a:defRPr sz="4000"/>
            </a:pPr>
            <a:endParaRPr sz="5332" b="0" kern="0">
              <a:solidFill>
                <a:srgbClr val="173E5B"/>
              </a:solidFill>
              <a:latin typeface="Bebas Kai"/>
              <a:sym typeface="Bebas Kai"/>
            </a:endParaRPr>
          </a:p>
        </p:txBody>
      </p:sp>
      <p:sp>
        <p:nvSpPr>
          <p:cNvPr id="14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5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3" name="Location, date"/>
          <p:cNvSpPr>
            <a:spLocks noGrp="1"/>
          </p:cNvSpPr>
          <p:nvPr>
            <p:ph type="body" sz="quarter" idx="16" hasCustomPrompt="1"/>
          </p:nvPr>
        </p:nvSpPr>
        <p:spPr>
          <a:xfrm>
            <a:off x="7321229" y="6563891"/>
            <a:ext cx="4167919" cy="184602"/>
          </a:xfrm>
        </p:spPr>
        <p:txBody>
          <a:bodyPr wrap="square" lIns="306822" tIns="0" rIns="214776" anchor="b" anchorCtr="0">
            <a:spAutoFit/>
          </a:bodyPr>
          <a:lstStyle>
            <a:lvl1pPr marL="0" marR="0" indent="0" algn="r" defTabSz="103876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sz="1333" baseline="0">
                <a:latin typeface="DIN Alternate" panose="020B0500000000000000" pitchFamily="34" charset="77"/>
                <a:sym typeface="+mn-lt"/>
              </a:defRPr>
            </a:lvl1pPr>
            <a:lvl2pPr algn="r">
              <a:defRPr/>
            </a:lvl2pPr>
          </a:lstStyle>
          <a:p>
            <a:pPr marL="0" marR="0" lvl="0" indent="0" algn="l" defTabSz="103876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r>
              <a:rPr lang="en-US" dirty="0"/>
              <a:t>Location, date of presentation (month, day, year)</a:t>
            </a:r>
          </a:p>
        </p:txBody>
      </p:sp>
      <p:sp>
        <p:nvSpPr>
          <p:cNvPr id="4" name="Project name"/>
          <p:cNvSpPr>
            <a:spLocks noGrp="1"/>
          </p:cNvSpPr>
          <p:nvPr>
            <p:ph type="title" hasCustomPrompt="1"/>
          </p:nvPr>
        </p:nvSpPr>
        <p:spPr>
          <a:xfrm>
            <a:off x="962893" y="4684499"/>
            <a:ext cx="11480947" cy="1661609"/>
          </a:xfrm>
          <a:noFill/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spAutoFit/>
          </a:bodyPr>
          <a:lstStyle>
            <a:lvl1pPr>
              <a:lnSpc>
                <a:spcPct val="90000"/>
              </a:lnSpc>
              <a:defRPr lang="en-US" sz="6665" dirty="0">
                <a:solidFill>
                  <a:srgbClr val="173E5B"/>
                </a:solidFill>
              </a:defRPr>
            </a:lvl1pPr>
          </a:lstStyle>
          <a:p>
            <a:pPr lvl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document title BLUE (BEBAS KAI 50PT)</a:t>
            </a:r>
          </a:p>
        </p:txBody>
      </p:sp>
      <p:sp>
        <p:nvSpPr>
          <p:cNvPr id="19" name="Position Lines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43076" y="6886576"/>
            <a:ext cx="0" cy="72000"/>
          </a:xfrm>
          <a:prstGeom prst="line">
            <a:avLst/>
          </a:pr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</p:spPr>
        <p:txBody>
          <a:bodyPr lIns="103877" tIns="51940" rIns="103877" bIns="51940"/>
          <a:lstStyle/>
          <a:p>
            <a:endParaRPr lang="en-US" sz="1867" noProof="0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676283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SDG 7 SECOND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52470C4-F049-F245-A8C0-25D75A19C78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117" y="1361516"/>
            <a:ext cx="12192000" cy="413496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1.png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8939" y="355491"/>
            <a:ext cx="3411279" cy="848733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Shape 26"/>
          <p:cNvSpPr/>
          <p:nvPr userDrawn="1"/>
        </p:nvSpPr>
        <p:spPr>
          <a:xfrm>
            <a:off x="708935" y="4582932"/>
            <a:ext cx="11480948" cy="1811937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60940" tIns="60940" rIns="60940" bIns="60940" numCol="1" anchor="t">
            <a:noAutofit/>
          </a:bodyPr>
          <a:lstStyle/>
          <a:p>
            <a:pPr defTabSz="609402" fontAlgn="auto" hangingPunct="0">
              <a:spcBef>
                <a:spcPts val="0"/>
              </a:spcBef>
              <a:spcAft>
                <a:spcPts val="0"/>
              </a:spcAft>
              <a:defRPr sz="4000"/>
            </a:pPr>
            <a:endParaRPr sz="5332" b="0" kern="0">
              <a:solidFill>
                <a:srgbClr val="173E5B"/>
              </a:solidFill>
              <a:latin typeface="Bebas Kai"/>
              <a:sym typeface="Bebas Kai"/>
            </a:endParaRPr>
          </a:p>
        </p:txBody>
      </p:sp>
      <p:sp>
        <p:nvSpPr>
          <p:cNvPr id="14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5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Project name"/>
          <p:cNvSpPr>
            <a:spLocks noGrp="1"/>
          </p:cNvSpPr>
          <p:nvPr>
            <p:ph type="title" hasCustomPrompt="1"/>
          </p:nvPr>
        </p:nvSpPr>
        <p:spPr>
          <a:xfrm>
            <a:off x="962893" y="4684499"/>
            <a:ext cx="11480947" cy="1661609"/>
          </a:xfrm>
          <a:noFill/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spAutoFit/>
          </a:bodyPr>
          <a:lstStyle>
            <a:lvl1pPr>
              <a:lnSpc>
                <a:spcPct val="90000"/>
              </a:lnSpc>
              <a:defRPr lang="en-US" sz="6665" dirty="0">
                <a:solidFill>
                  <a:srgbClr val="173E5B"/>
                </a:solidFill>
              </a:defRPr>
            </a:lvl1pPr>
          </a:lstStyle>
          <a:p>
            <a:pPr lvl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document title BLUE (BEBAS KAI 50PT)</a:t>
            </a:r>
          </a:p>
        </p:txBody>
      </p:sp>
      <p:sp>
        <p:nvSpPr>
          <p:cNvPr id="19" name="Position Lines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43076" y="6886576"/>
            <a:ext cx="0" cy="72000"/>
          </a:xfrm>
          <a:prstGeom prst="line">
            <a:avLst/>
          </a:pr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</p:spPr>
        <p:txBody>
          <a:bodyPr lIns="103877" tIns="51940" rIns="103877" bIns="51940"/>
          <a:lstStyle/>
          <a:p>
            <a:endParaRPr lang="en-US" sz="1867" noProof="0" dirty="0">
              <a:latin typeface="+mn-lt"/>
              <a:sym typeface="+mn-lt"/>
            </a:endParaRPr>
          </a:p>
        </p:txBody>
      </p:sp>
      <p:sp>
        <p:nvSpPr>
          <p:cNvPr id="11" name="Location, date">
            <a:extLst>
              <a:ext uri="{FF2B5EF4-FFF2-40B4-BE49-F238E27FC236}">
                <a16:creationId xmlns:a16="http://schemas.microsoft.com/office/drawing/2014/main" id="{0B6F0F98-6218-B646-BEF4-717EAF82D68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1229" y="6563891"/>
            <a:ext cx="4167919" cy="184602"/>
          </a:xfrm>
        </p:spPr>
        <p:txBody>
          <a:bodyPr wrap="square" lIns="306822" tIns="0" rIns="214776" anchor="b" anchorCtr="0">
            <a:spAutoFit/>
          </a:bodyPr>
          <a:lstStyle>
            <a:lvl1pPr marL="0" marR="0" indent="0" algn="r" defTabSz="103876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sz="1333" baseline="0">
                <a:latin typeface="DIN Alternate" panose="020B0500000000000000" pitchFamily="34" charset="77"/>
                <a:sym typeface="+mn-lt"/>
              </a:defRPr>
            </a:lvl1pPr>
            <a:lvl2pPr algn="r">
              <a:defRPr/>
            </a:lvl2pPr>
          </a:lstStyle>
          <a:p>
            <a:pPr marL="0" marR="0" lvl="0" indent="0" algn="l" defTabSz="103876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r>
              <a:rPr lang="en-US" dirty="0"/>
              <a:t>Location, date of presentation (month, day, year)</a:t>
            </a:r>
          </a:p>
        </p:txBody>
      </p:sp>
    </p:spTree>
    <p:extLst>
      <p:ext uri="{BB962C8B-B14F-4D97-AF65-F5344CB8AC3E}">
        <p14:creationId xmlns:p14="http://schemas.microsoft.com/office/powerpoint/2010/main" val="6789378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SDG 9 OFFICIAL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D9965169-B997-5C47-8F45-7CFFC10960F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63955"/>
            <a:ext cx="12192000" cy="4130092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1.png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8939" y="355491"/>
            <a:ext cx="3411279" cy="848733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Shape 26"/>
          <p:cNvSpPr/>
          <p:nvPr userDrawn="1"/>
        </p:nvSpPr>
        <p:spPr>
          <a:xfrm>
            <a:off x="708935" y="4582930"/>
            <a:ext cx="11480948" cy="1875253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60940" tIns="60940" rIns="60940" bIns="60940" numCol="1" anchor="t">
            <a:noAutofit/>
          </a:bodyPr>
          <a:lstStyle/>
          <a:p>
            <a:pPr defTabSz="609402" fontAlgn="auto" hangingPunct="0">
              <a:spcBef>
                <a:spcPts val="0"/>
              </a:spcBef>
              <a:spcAft>
                <a:spcPts val="0"/>
              </a:spcAft>
              <a:defRPr sz="4000"/>
            </a:pPr>
            <a:endParaRPr sz="5332" b="0" kern="0">
              <a:solidFill>
                <a:srgbClr val="173E5B"/>
              </a:solidFill>
              <a:latin typeface="Bebas Kai"/>
              <a:sym typeface="Bebas Kai"/>
            </a:endParaRPr>
          </a:p>
        </p:txBody>
      </p:sp>
      <p:sp>
        <p:nvSpPr>
          <p:cNvPr id="14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5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Project name"/>
          <p:cNvSpPr>
            <a:spLocks noGrp="1"/>
          </p:cNvSpPr>
          <p:nvPr>
            <p:ph type="title" hasCustomPrompt="1"/>
          </p:nvPr>
        </p:nvSpPr>
        <p:spPr>
          <a:xfrm>
            <a:off x="962893" y="4684499"/>
            <a:ext cx="11480947" cy="1661609"/>
          </a:xfrm>
          <a:noFill/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spAutoFit/>
          </a:bodyPr>
          <a:lstStyle>
            <a:lvl1pPr>
              <a:lnSpc>
                <a:spcPct val="90000"/>
              </a:lnSpc>
              <a:defRPr lang="en-US" sz="6665" dirty="0">
                <a:solidFill>
                  <a:srgbClr val="173E5B"/>
                </a:solidFill>
              </a:defRPr>
            </a:lvl1pPr>
          </a:lstStyle>
          <a:p>
            <a:pPr lvl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document title BLUE (BEBAS KAI 50PT)</a:t>
            </a:r>
          </a:p>
        </p:txBody>
      </p:sp>
      <p:sp>
        <p:nvSpPr>
          <p:cNvPr id="19" name="Position Lines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43076" y="6886576"/>
            <a:ext cx="0" cy="72000"/>
          </a:xfrm>
          <a:prstGeom prst="line">
            <a:avLst/>
          </a:pr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</p:spPr>
        <p:txBody>
          <a:bodyPr lIns="103877" tIns="51940" rIns="103877" bIns="51940"/>
          <a:lstStyle/>
          <a:p>
            <a:endParaRPr lang="en-US" sz="1867" noProof="0" dirty="0">
              <a:latin typeface="+mn-lt"/>
              <a:sym typeface="+mn-lt"/>
            </a:endParaRPr>
          </a:p>
        </p:txBody>
      </p:sp>
      <p:sp>
        <p:nvSpPr>
          <p:cNvPr id="12" name="Location, date">
            <a:extLst>
              <a:ext uri="{FF2B5EF4-FFF2-40B4-BE49-F238E27FC236}">
                <a16:creationId xmlns:a16="http://schemas.microsoft.com/office/drawing/2014/main" id="{6BA5A7E4-8E15-6947-ABE8-774BD362616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1229" y="6563891"/>
            <a:ext cx="4167919" cy="184602"/>
          </a:xfrm>
        </p:spPr>
        <p:txBody>
          <a:bodyPr wrap="square" lIns="306822" tIns="0" rIns="214776" anchor="b" anchorCtr="0">
            <a:spAutoFit/>
          </a:bodyPr>
          <a:lstStyle>
            <a:lvl1pPr marL="0" marR="0" indent="0" algn="r" defTabSz="103876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sz="1333" baseline="0">
                <a:latin typeface="DIN Alternate" panose="020B0500000000000000" pitchFamily="34" charset="77"/>
                <a:sym typeface="+mn-lt"/>
              </a:defRPr>
            </a:lvl1pPr>
            <a:lvl2pPr algn="r">
              <a:defRPr/>
            </a:lvl2pPr>
          </a:lstStyle>
          <a:p>
            <a:pPr marL="0" marR="0" lvl="0" indent="0" algn="l" defTabSz="103876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r>
              <a:rPr lang="en-US" dirty="0"/>
              <a:t>Location, date of presentation (month, day, year)</a:t>
            </a:r>
          </a:p>
        </p:txBody>
      </p:sp>
    </p:spTree>
    <p:extLst>
      <p:ext uri="{BB962C8B-B14F-4D97-AF65-F5344CB8AC3E}">
        <p14:creationId xmlns:p14="http://schemas.microsoft.com/office/powerpoint/2010/main" val="31177697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SDG 11 OFFICIAL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3D2DCA89-6C3F-D147-A781-360220B4C8C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63128"/>
            <a:ext cx="12192000" cy="4131744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1.png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8939" y="355491"/>
            <a:ext cx="3411279" cy="848733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Shape 26"/>
          <p:cNvSpPr/>
          <p:nvPr userDrawn="1"/>
        </p:nvSpPr>
        <p:spPr>
          <a:xfrm>
            <a:off x="708935" y="4582930"/>
            <a:ext cx="11480948" cy="1922740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60940" tIns="60940" rIns="60940" bIns="60940" numCol="1" anchor="t">
            <a:noAutofit/>
          </a:bodyPr>
          <a:lstStyle/>
          <a:p>
            <a:pPr defTabSz="609402" fontAlgn="auto" hangingPunct="0">
              <a:spcBef>
                <a:spcPts val="0"/>
              </a:spcBef>
              <a:spcAft>
                <a:spcPts val="0"/>
              </a:spcAft>
              <a:defRPr sz="4000"/>
            </a:pPr>
            <a:endParaRPr sz="5332" b="0" kern="0">
              <a:solidFill>
                <a:srgbClr val="173E5B"/>
              </a:solidFill>
              <a:latin typeface="Bebas Kai"/>
              <a:sym typeface="Bebas Kai"/>
            </a:endParaRPr>
          </a:p>
        </p:txBody>
      </p:sp>
      <p:sp>
        <p:nvSpPr>
          <p:cNvPr id="14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5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Project name"/>
          <p:cNvSpPr>
            <a:spLocks noGrp="1"/>
          </p:cNvSpPr>
          <p:nvPr>
            <p:ph type="title" hasCustomPrompt="1"/>
          </p:nvPr>
        </p:nvSpPr>
        <p:spPr>
          <a:xfrm>
            <a:off x="962893" y="4684499"/>
            <a:ext cx="11480947" cy="1661609"/>
          </a:xfrm>
          <a:noFill/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spAutoFit/>
          </a:bodyPr>
          <a:lstStyle>
            <a:lvl1pPr>
              <a:lnSpc>
                <a:spcPct val="90000"/>
              </a:lnSpc>
              <a:defRPr lang="en-US" sz="6665" dirty="0">
                <a:solidFill>
                  <a:srgbClr val="173E5B"/>
                </a:solidFill>
              </a:defRPr>
            </a:lvl1pPr>
          </a:lstStyle>
          <a:p>
            <a:pPr lvl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document title BLUE (BEBAS KAI 50PT)</a:t>
            </a:r>
          </a:p>
        </p:txBody>
      </p:sp>
      <p:sp>
        <p:nvSpPr>
          <p:cNvPr id="19" name="Position Lines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43076" y="6886576"/>
            <a:ext cx="0" cy="72000"/>
          </a:xfrm>
          <a:prstGeom prst="line">
            <a:avLst/>
          </a:pr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</p:spPr>
        <p:txBody>
          <a:bodyPr lIns="103877" tIns="51940" rIns="103877" bIns="51940"/>
          <a:lstStyle/>
          <a:p>
            <a:endParaRPr lang="en-US" sz="1867" noProof="0" dirty="0">
              <a:latin typeface="+mn-lt"/>
              <a:sym typeface="+mn-lt"/>
            </a:endParaRPr>
          </a:p>
        </p:txBody>
      </p:sp>
      <p:sp>
        <p:nvSpPr>
          <p:cNvPr id="12" name="Location, date">
            <a:extLst>
              <a:ext uri="{FF2B5EF4-FFF2-40B4-BE49-F238E27FC236}">
                <a16:creationId xmlns:a16="http://schemas.microsoft.com/office/drawing/2014/main" id="{F5596F41-5CA6-A94D-AD5E-253AAB1542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1229" y="6563891"/>
            <a:ext cx="4167919" cy="184602"/>
          </a:xfrm>
        </p:spPr>
        <p:txBody>
          <a:bodyPr wrap="square" lIns="306822" tIns="0" rIns="214776" anchor="b" anchorCtr="0">
            <a:spAutoFit/>
          </a:bodyPr>
          <a:lstStyle>
            <a:lvl1pPr marL="0" marR="0" indent="0" algn="r" defTabSz="103876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sz="1333" baseline="0">
                <a:latin typeface="DIN Alternate" panose="020B0500000000000000" pitchFamily="34" charset="77"/>
                <a:sym typeface="+mn-lt"/>
              </a:defRPr>
            </a:lvl1pPr>
            <a:lvl2pPr algn="r">
              <a:defRPr/>
            </a:lvl2pPr>
          </a:lstStyle>
          <a:p>
            <a:pPr marL="0" marR="0" lvl="0" indent="0" algn="l" defTabSz="103876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r>
              <a:rPr lang="en-US" dirty="0"/>
              <a:t>Location, date of presentation (month, day, year)</a:t>
            </a:r>
          </a:p>
        </p:txBody>
      </p:sp>
    </p:spTree>
    <p:extLst>
      <p:ext uri="{BB962C8B-B14F-4D97-AF65-F5344CB8AC3E}">
        <p14:creationId xmlns:p14="http://schemas.microsoft.com/office/powerpoint/2010/main" val="3208994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04D3E4-D33B-4FDE-9608-70ACCFCC2ECB}" type="datetime1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8/19/2020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pag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pPr/>
              <a:t>‹#›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6606445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SDG 12 OFFICIAL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B84E914F-B846-CD43-A55D-D4ADD95E9FB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63955"/>
            <a:ext cx="12192000" cy="4130092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1.png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708939" y="355491"/>
            <a:ext cx="3411279" cy="848733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Shape 26"/>
          <p:cNvSpPr/>
          <p:nvPr userDrawn="1"/>
        </p:nvSpPr>
        <p:spPr>
          <a:xfrm>
            <a:off x="708935" y="4582930"/>
            <a:ext cx="11480948" cy="1875253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60940" tIns="60940" rIns="60940" bIns="60940" numCol="1" anchor="t">
            <a:noAutofit/>
          </a:bodyPr>
          <a:lstStyle/>
          <a:p>
            <a:pPr defTabSz="609402" fontAlgn="auto" hangingPunct="0">
              <a:spcBef>
                <a:spcPts val="0"/>
              </a:spcBef>
              <a:spcAft>
                <a:spcPts val="0"/>
              </a:spcAft>
              <a:defRPr sz="4000"/>
            </a:pPr>
            <a:endParaRPr sz="5332" b="0" kern="0">
              <a:solidFill>
                <a:srgbClr val="173E5B"/>
              </a:solidFill>
              <a:latin typeface="Bebas Kai"/>
              <a:sym typeface="Bebas Kai"/>
            </a:endParaRPr>
          </a:p>
        </p:txBody>
      </p:sp>
      <p:sp>
        <p:nvSpPr>
          <p:cNvPr id="14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5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Project name"/>
          <p:cNvSpPr>
            <a:spLocks noGrp="1"/>
          </p:cNvSpPr>
          <p:nvPr>
            <p:ph type="title" hasCustomPrompt="1"/>
          </p:nvPr>
        </p:nvSpPr>
        <p:spPr>
          <a:xfrm>
            <a:off x="962893" y="4684499"/>
            <a:ext cx="11480947" cy="1661609"/>
          </a:xfrm>
          <a:noFill/>
          <a:ln w="12700" cap="flat">
            <a:noFill/>
            <a:miter lim="400000"/>
          </a:ln>
          <a:effectLst/>
        </p:spPr>
        <p:txBody>
          <a:bodyPr wrap="square" lIns="0" tIns="0" rIns="0" bIns="0" numCol="1" anchor="t">
            <a:spAutoFit/>
          </a:bodyPr>
          <a:lstStyle>
            <a:lvl1pPr>
              <a:lnSpc>
                <a:spcPct val="90000"/>
              </a:lnSpc>
              <a:defRPr lang="en-US" sz="6665" dirty="0">
                <a:solidFill>
                  <a:srgbClr val="173E5B"/>
                </a:solidFill>
              </a:defRPr>
            </a:lvl1pPr>
          </a:lstStyle>
          <a:p>
            <a:pPr lvl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document title BLUE (BEBAS KAI 50PT)</a:t>
            </a:r>
          </a:p>
        </p:txBody>
      </p:sp>
      <p:sp>
        <p:nvSpPr>
          <p:cNvPr id="19" name="Position Lines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43076" y="6886576"/>
            <a:ext cx="0" cy="72000"/>
          </a:xfrm>
          <a:prstGeom prst="line">
            <a:avLst/>
          </a:prstGeom>
          <a:noFill/>
          <a:ln w="3175" cmpd="sng">
            <a:solidFill>
              <a:schemeClr val="accent1"/>
            </a:solidFill>
            <a:round/>
            <a:headEnd/>
            <a:tailEnd/>
          </a:ln>
          <a:effectLst/>
        </p:spPr>
        <p:txBody>
          <a:bodyPr lIns="103877" tIns="51940" rIns="103877" bIns="51940"/>
          <a:lstStyle/>
          <a:p>
            <a:endParaRPr lang="en-US" sz="1867" noProof="0" dirty="0">
              <a:latin typeface="+mn-lt"/>
              <a:sym typeface="+mn-lt"/>
            </a:endParaRPr>
          </a:p>
        </p:txBody>
      </p:sp>
      <p:sp>
        <p:nvSpPr>
          <p:cNvPr id="12" name="Location, date">
            <a:extLst>
              <a:ext uri="{FF2B5EF4-FFF2-40B4-BE49-F238E27FC236}">
                <a16:creationId xmlns:a16="http://schemas.microsoft.com/office/drawing/2014/main" id="{2A5EA288-E5FD-F04F-BE9C-E3E88CE415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21229" y="6563891"/>
            <a:ext cx="4167919" cy="184602"/>
          </a:xfrm>
        </p:spPr>
        <p:txBody>
          <a:bodyPr wrap="square" lIns="306822" tIns="0" rIns="214776" anchor="b" anchorCtr="0">
            <a:spAutoFit/>
          </a:bodyPr>
          <a:lstStyle>
            <a:lvl1pPr marL="0" marR="0" indent="0" algn="r" defTabSz="103876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sz="1333" baseline="0">
                <a:latin typeface="DIN Alternate" panose="020B0500000000000000" pitchFamily="34" charset="77"/>
                <a:sym typeface="+mn-lt"/>
              </a:defRPr>
            </a:lvl1pPr>
            <a:lvl2pPr algn="r">
              <a:defRPr/>
            </a:lvl2pPr>
          </a:lstStyle>
          <a:p>
            <a:pPr marL="0" marR="0" lvl="0" indent="0" algn="l" defTabSz="103876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r>
              <a:rPr lang="en-US" dirty="0"/>
              <a:t>Location, date of presentation (month, day, year)</a:t>
            </a:r>
          </a:p>
        </p:txBody>
      </p:sp>
    </p:spTree>
    <p:extLst>
      <p:ext uri="{BB962C8B-B14F-4D97-AF65-F5344CB8AC3E}">
        <p14:creationId xmlns:p14="http://schemas.microsoft.com/office/powerpoint/2010/main" val="29004910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ITLE BLUE SIF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hape 64"/>
          <p:cNvSpPr/>
          <p:nvPr userDrawn="1"/>
        </p:nvSpPr>
        <p:spPr>
          <a:xfrm>
            <a:off x="0" y="0"/>
            <a:ext cx="12189883" cy="6855883"/>
          </a:xfrm>
          <a:prstGeom prst="rect">
            <a:avLst/>
          </a:prstGeom>
          <a:solidFill>
            <a:srgbClr val="173E5B"/>
          </a:solidFill>
          <a:ln w="12700">
            <a:miter lim="400000"/>
          </a:ln>
        </p:spPr>
        <p:txBody>
          <a:bodyPr lIns="60940" rIns="60940" anchor="ctr"/>
          <a:lstStyle/>
          <a:p>
            <a:pPr algn="ctr" defTabSz="609402">
              <a:lnSpc>
                <a:spcPct val="100000"/>
              </a:lnSpc>
              <a:defRPr sz="12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600"/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9833" y="2279297"/>
            <a:ext cx="10565147" cy="504690"/>
          </a:xfrm>
          <a:ln w="12700">
            <a:miter lim="400000"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999" kern="0" baseline="0" dirty="0">
                <a:solidFill>
                  <a:srgbClr val="FF9300"/>
                </a:solidFill>
                <a:latin typeface="Bebas Kai"/>
                <a:ea typeface="+mn-ea"/>
                <a:cs typeface="+mn-cs"/>
              </a:defRPr>
            </a:lvl1pPr>
          </a:lstStyle>
          <a:p>
            <a:pPr lvl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CHAPTER TITLE (font orange </a:t>
            </a:r>
            <a:r>
              <a:rPr lang="en-US" dirty="0" err="1"/>
              <a:t>Bebas</a:t>
            </a:r>
            <a:r>
              <a:rPr lang="en-US" dirty="0"/>
              <a:t> Kai 30pt)</a:t>
            </a:r>
          </a:p>
        </p:txBody>
      </p:sp>
      <p:pic>
        <p:nvPicPr>
          <p:cNvPr id="11" name="image5.pn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85212" y="494985"/>
            <a:ext cx="1834227" cy="456360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0593ADD-48AE-0746-BA05-9E51FC373A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9833" y="2783141"/>
            <a:ext cx="10565147" cy="1661609"/>
          </a:xfrm>
        </p:spPr>
        <p:txBody>
          <a:bodyPr/>
          <a:lstStyle>
            <a:lvl1pPr marL="0" marR="0" indent="0" algn="l" defTabSz="1038769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sz="6665">
                <a:solidFill>
                  <a:schemeClr val="bg1"/>
                </a:solidFill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 fontAlgn="auto" hangingPunct="0">
              <a:lnSpc>
                <a:spcPct val="80000"/>
              </a:lnSpc>
              <a:spcAft>
                <a:spcPts val="0"/>
              </a:spcAft>
            </a:pPr>
            <a:r>
              <a:rPr lang="en-US" dirty="0"/>
              <a:t>SLIDE TITLE SIF </a:t>
            </a:r>
          </a:p>
          <a:p>
            <a:pPr lvl="0" fontAlgn="auto" hangingPunct="0">
              <a:lnSpc>
                <a:spcPct val="80000"/>
              </a:lnSpc>
              <a:spcAft>
                <a:spcPts val="0"/>
              </a:spcAft>
            </a:pPr>
            <a:r>
              <a:rPr lang="en-US" dirty="0"/>
              <a:t>(font WHITE BEBAS KAI 50PT)</a:t>
            </a:r>
          </a:p>
        </p:txBody>
      </p:sp>
    </p:spTree>
    <p:extLst>
      <p:ext uri="{BB962C8B-B14F-4D97-AF65-F5344CB8AC3E}">
        <p14:creationId xmlns:p14="http://schemas.microsoft.com/office/powerpoint/2010/main" val="2907318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BLUE SIF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64">
            <a:extLst>
              <a:ext uri="{FF2B5EF4-FFF2-40B4-BE49-F238E27FC236}">
                <a16:creationId xmlns:a16="http://schemas.microsoft.com/office/drawing/2014/main" id="{32D15D9D-5B4B-1A4B-B698-630A7C650691}"/>
              </a:ext>
            </a:extLst>
          </p:cNvPr>
          <p:cNvSpPr/>
          <p:nvPr userDrawn="1"/>
        </p:nvSpPr>
        <p:spPr>
          <a:xfrm>
            <a:off x="0" y="0"/>
            <a:ext cx="12189883" cy="6855883"/>
          </a:xfrm>
          <a:prstGeom prst="rect">
            <a:avLst/>
          </a:prstGeom>
          <a:solidFill>
            <a:srgbClr val="173E5B"/>
          </a:solidFill>
          <a:ln w="12700">
            <a:miter lim="400000"/>
          </a:ln>
        </p:spPr>
        <p:txBody>
          <a:bodyPr lIns="60940" rIns="60940" anchor="ctr"/>
          <a:lstStyle/>
          <a:p>
            <a:pPr algn="ctr" defTabSz="609402">
              <a:lnSpc>
                <a:spcPct val="100000"/>
              </a:lnSpc>
              <a:defRPr sz="12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60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59833" y="1439555"/>
            <a:ext cx="10565147" cy="129214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/>
              <a:t>SLIDE TITLE SIF (font WHITE BEBAS KAI 35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9836" y="1108945"/>
            <a:ext cx="10565145" cy="369219"/>
          </a:xfrm>
        </p:spPr>
        <p:txBody>
          <a:bodyPr/>
          <a:lstStyle>
            <a:lvl1pPr>
              <a:defRPr baseline="0">
                <a:latin typeface="+mj-lt"/>
                <a:sym typeface="+mn-lt"/>
              </a:defRPr>
            </a:lvl1pPr>
          </a:lstStyle>
          <a:p>
            <a:r>
              <a:rPr lang="en-US" dirty="0"/>
              <a:t>CHAPTER TITLE (font orange BEBAS KAI 20PT) </a:t>
            </a:r>
          </a:p>
        </p:txBody>
      </p:sp>
      <p:pic>
        <p:nvPicPr>
          <p:cNvPr id="10" name="image5.png">
            <a:extLst>
              <a:ext uri="{FF2B5EF4-FFF2-40B4-BE49-F238E27FC236}">
                <a16:creationId xmlns:a16="http://schemas.microsoft.com/office/drawing/2014/main" id="{A1234388-7D78-0941-8218-737E7C6D72A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85212" y="494985"/>
            <a:ext cx="1834227" cy="45636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681702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ACKGROUND SIF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hape 64"/>
          <p:cNvSpPr/>
          <p:nvPr userDrawn="1"/>
        </p:nvSpPr>
        <p:spPr>
          <a:xfrm>
            <a:off x="0" y="0"/>
            <a:ext cx="12189883" cy="6855883"/>
          </a:xfrm>
          <a:prstGeom prst="rect">
            <a:avLst/>
          </a:prstGeom>
          <a:solidFill>
            <a:srgbClr val="173E5B"/>
          </a:solidFill>
          <a:ln w="12700">
            <a:miter lim="400000"/>
          </a:ln>
        </p:spPr>
        <p:txBody>
          <a:bodyPr lIns="60940" rIns="60940" anchor="ctr"/>
          <a:lstStyle/>
          <a:p>
            <a:pPr algn="ctr" defTabSz="609402">
              <a:lnSpc>
                <a:spcPct val="100000"/>
              </a:lnSpc>
              <a:defRPr sz="12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600"/>
          </a:p>
        </p:txBody>
      </p:sp>
      <p:pic>
        <p:nvPicPr>
          <p:cNvPr id="8" name="image5.pn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85212" y="494985"/>
            <a:ext cx="1834227" cy="45636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59361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AN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pic>
        <p:nvPicPr>
          <p:cNvPr id="9" name="image11.pn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40067" y="532916"/>
            <a:ext cx="1834224" cy="456361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627B510F-3350-504D-8EF2-59DA3D68B10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59833" y="1439555"/>
            <a:ext cx="10565147" cy="646131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/>
              <a:t>AGENDA (FONT blue BEBAS KAI 35PT)</a:t>
            </a:r>
          </a:p>
        </p:txBody>
      </p:sp>
    </p:spTree>
    <p:extLst>
      <p:ext uri="{BB962C8B-B14F-4D97-AF65-F5344CB8AC3E}">
        <p14:creationId xmlns:p14="http://schemas.microsoft.com/office/powerpoint/2010/main" val="646913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ITL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59833" y="2783142"/>
            <a:ext cx="10565147" cy="1661609"/>
          </a:xfrm>
          <a:ln w="12700">
            <a:miter lim="400000"/>
          </a:ln>
        </p:spPr>
        <p:txBody>
          <a:bodyPr wrap="square" lIns="0" tIns="0" rIns="0" bIns="0">
            <a:spAutoFit/>
          </a:bodyPr>
          <a:lstStyle>
            <a:lvl1pPr>
              <a:defRPr lang="en-US" sz="6665" kern="0" dirty="0" smtClean="0">
                <a:solidFill>
                  <a:srgbClr val="183D5B"/>
                </a:solidFill>
                <a:latin typeface="Bebas Kai"/>
              </a:defRPr>
            </a:lvl1pPr>
            <a:lvl2pPr>
              <a:defRPr lang="en-US" sz="1467" b="1" dirty="0" smtClean="0">
                <a:latin typeface="Arial Narrow" charset="0"/>
              </a:defRPr>
            </a:lvl2pPr>
            <a:lvl3pPr>
              <a:defRPr lang="en-US" sz="1467" b="1" dirty="0" smtClean="0">
                <a:latin typeface="Arial Narrow" charset="0"/>
              </a:defRPr>
            </a:lvl3pPr>
            <a:lvl4pPr>
              <a:defRPr lang="en-US" sz="1467" b="1" dirty="0" smtClean="0">
                <a:latin typeface="Arial Narrow" charset="0"/>
              </a:defRPr>
            </a:lvl4pPr>
          </a:lstStyle>
          <a:p>
            <a:pPr lvl="0" fontAlgn="auto" hangingPunct="0">
              <a:lnSpc>
                <a:spcPct val="80000"/>
              </a:lnSpc>
              <a:spcAft>
                <a:spcPts val="0"/>
              </a:spcAft>
            </a:pPr>
            <a:r>
              <a:rPr lang="en-US" dirty="0"/>
              <a:t>SLIDE TITLE (font BLUE BEBAS KAI 50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9833" y="2279297"/>
            <a:ext cx="10565147" cy="504690"/>
          </a:xfrm>
          <a:ln w="12700">
            <a:miter lim="400000"/>
          </a:ln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999" kern="0" baseline="0" dirty="0">
                <a:solidFill>
                  <a:srgbClr val="FF9300"/>
                </a:solidFill>
                <a:latin typeface="Bebas Kai"/>
                <a:ea typeface="+mn-ea"/>
                <a:cs typeface="+mn-cs"/>
              </a:defRPr>
            </a:lvl1pPr>
          </a:lstStyle>
          <a:p>
            <a:pPr lvl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CHAPTER TITLE (font orange </a:t>
            </a:r>
            <a:r>
              <a:rPr lang="en-US" dirty="0" err="1"/>
              <a:t>Bebas</a:t>
            </a:r>
            <a:r>
              <a:rPr lang="en-US" dirty="0"/>
              <a:t> Kai 30pt)</a:t>
            </a:r>
          </a:p>
        </p:txBody>
      </p:sp>
      <p:pic>
        <p:nvPicPr>
          <p:cNvPr id="11" name="image5.pn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85212" y="494985"/>
            <a:ext cx="1834227" cy="45636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image11.png">
            <a:extLst>
              <a:ext uri="{FF2B5EF4-FFF2-40B4-BE49-F238E27FC236}">
                <a16:creationId xmlns:a16="http://schemas.microsoft.com/office/drawing/2014/main" id="{A31DEC10-09B4-AF47-83A8-DFFE5BC484B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0067" y="532916"/>
            <a:ext cx="1834224" cy="45636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952791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59833" y="1439555"/>
            <a:ext cx="10565147" cy="646131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/>
              <a:t>SLIDE TITLE (font BLUE BEBAS KAI 35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9836" y="1108945"/>
            <a:ext cx="10565145" cy="369219"/>
          </a:xfrm>
        </p:spPr>
        <p:txBody>
          <a:bodyPr/>
          <a:lstStyle>
            <a:lvl1pPr>
              <a:defRPr baseline="0">
                <a:latin typeface="+mj-lt"/>
                <a:sym typeface="+mn-lt"/>
              </a:defRPr>
            </a:lvl1pPr>
          </a:lstStyle>
          <a:p>
            <a:r>
              <a:rPr lang="en-US" dirty="0"/>
              <a:t>CHAPTER </a:t>
            </a:r>
            <a:r>
              <a:rPr lang="en-US" dirty="0" err="1"/>
              <a:t>TItle</a:t>
            </a:r>
            <a:r>
              <a:rPr lang="en-US" dirty="0"/>
              <a:t> (font orange BEBAS KAI 20PT) </a:t>
            </a:r>
          </a:p>
        </p:txBody>
      </p:sp>
      <p:pic>
        <p:nvPicPr>
          <p:cNvPr id="14" name="image11.pn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40067" y="532916"/>
            <a:ext cx="1834224" cy="45636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779468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9835" y="1108945"/>
            <a:ext cx="2451749" cy="369219"/>
          </a:xfrm>
        </p:spPr>
        <p:txBody>
          <a:bodyPr/>
          <a:lstStyle>
            <a:lvl1pPr>
              <a:defRPr baseline="0">
                <a:solidFill>
                  <a:srgbClr val="183D5B"/>
                </a:solidFill>
                <a:latin typeface="+mj-lt"/>
                <a:sym typeface="+mn-lt"/>
              </a:defRPr>
            </a:lvl1pPr>
          </a:lstStyle>
          <a:p>
            <a:r>
              <a:rPr lang="en-US" dirty="0"/>
              <a:t>caption</a:t>
            </a:r>
          </a:p>
        </p:txBody>
      </p:sp>
      <p:pic>
        <p:nvPicPr>
          <p:cNvPr id="14" name="image11.pn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40067" y="532916"/>
            <a:ext cx="1834224" cy="45636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313900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9835" y="1108945"/>
            <a:ext cx="2451749" cy="369219"/>
          </a:xfrm>
        </p:spPr>
        <p:txBody>
          <a:bodyPr/>
          <a:lstStyle>
            <a:lvl1pPr>
              <a:defRPr baseline="0">
                <a:solidFill>
                  <a:srgbClr val="183D5B"/>
                </a:solidFill>
                <a:latin typeface="+mj-lt"/>
                <a:sym typeface="+mn-lt"/>
              </a:defRPr>
            </a:lvl1pPr>
          </a:lstStyle>
          <a:p>
            <a:r>
              <a:rPr lang="en-US" dirty="0"/>
              <a:t>caption</a:t>
            </a:r>
          </a:p>
        </p:txBody>
      </p:sp>
      <p:pic>
        <p:nvPicPr>
          <p:cNvPr id="14" name="image11.pn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40067" y="532916"/>
            <a:ext cx="1834224" cy="456361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99E2222-AE00-B644-A9FF-68458D8BB38E}"/>
              </a:ext>
            </a:extLst>
          </p:cNvPr>
          <p:cNvSpPr txBox="1">
            <a:spLocks/>
          </p:cNvSpPr>
          <p:nvPr userDrawn="1"/>
        </p:nvSpPr>
        <p:spPr>
          <a:xfrm>
            <a:off x="6323915" y="1108946"/>
            <a:ext cx="2451749" cy="369075"/>
          </a:xfrm>
          <a:prstGeom prst="rect">
            <a:avLst/>
          </a:prstGeom>
          <a:ln w="12700">
            <a:miter lim="400000"/>
          </a:ln>
        </p:spPr>
        <p:txBody>
          <a:bodyPr lIns="0" tIns="0" rIns="0" bIns="0">
            <a:spAutoFit/>
          </a:bodyPr>
          <a:lstStyle>
            <a:lvl1pPr algn="l" defTabSz="77933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b="0" kern="0" baseline="0" noProof="0">
                <a:solidFill>
                  <a:srgbClr val="183D5B"/>
                </a:solidFill>
                <a:latin typeface="+mj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CH" sz="2665" dirty="0" err="1"/>
              <a:t>caption</a:t>
            </a:r>
            <a:endParaRPr lang="fr-CH" sz="2665" dirty="0"/>
          </a:p>
        </p:txBody>
      </p:sp>
    </p:spTree>
    <p:extLst>
      <p:ext uri="{BB962C8B-B14F-4D97-AF65-F5344CB8AC3E}">
        <p14:creationId xmlns:p14="http://schemas.microsoft.com/office/powerpoint/2010/main" val="22436372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 background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59832" y="1439555"/>
            <a:ext cx="10549317" cy="646131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/>
              <a:t>SLIDE TITLE (font BLUE BEBAS KAI 35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9834" y="1094063"/>
            <a:ext cx="10549316" cy="369219"/>
          </a:xfrm>
        </p:spPr>
        <p:txBody>
          <a:bodyPr/>
          <a:lstStyle>
            <a:lvl1pPr>
              <a:defRPr baseline="0">
                <a:latin typeface="+mj-lt"/>
                <a:sym typeface="+mn-lt"/>
              </a:defRPr>
            </a:lvl1pPr>
          </a:lstStyle>
          <a:p>
            <a:r>
              <a:rPr lang="en-US" dirty="0"/>
              <a:t>CHAPTER TITLE (font orange BEBAS KAI 20PT, GENERIC BACKGROUND)</a:t>
            </a:r>
          </a:p>
        </p:txBody>
      </p:sp>
      <p:pic>
        <p:nvPicPr>
          <p:cNvPr id="9" name="image11.pn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40067" y="532916"/>
            <a:ext cx="1834224" cy="456361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49EC1754-B0C5-384B-B100-D3317F642C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918" t="8324" r="-1" b="69611"/>
          <a:stretch/>
        </p:blipFill>
        <p:spPr>
          <a:xfrm>
            <a:off x="0" y="1"/>
            <a:ext cx="1949613" cy="2247556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:a16="http://schemas.microsoft.com/office/drawing/2014/main" id="{DF2CD2A4-BBC1-4D4A-8E1C-867FBE2571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351" t="27511" r="29203" b="39952"/>
          <a:stretch/>
        </p:blipFill>
        <p:spPr>
          <a:xfrm rot="16200000" flipH="1" flipV="1">
            <a:off x="7894942" y="2560948"/>
            <a:ext cx="2642439" cy="5951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6836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F1087-3ABE-49C3-A72C-9B466E3C7EC9}" type="datetime1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8/19/2020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pag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pPr/>
              <a:t>‹#›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6236283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ic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59833" y="1439555"/>
            <a:ext cx="10505832" cy="646131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/>
              <a:t>SLIDE TITLE (font BLUE BEBAS KAI 35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9833" y="1092767"/>
            <a:ext cx="10505832" cy="369219"/>
          </a:xfrm>
        </p:spPr>
        <p:txBody>
          <a:bodyPr/>
          <a:lstStyle>
            <a:lvl1pPr>
              <a:defRPr baseline="0">
                <a:latin typeface="+mj-lt"/>
                <a:sym typeface="+mn-lt"/>
              </a:defRPr>
            </a:lvl1pPr>
          </a:lstStyle>
          <a:p>
            <a:r>
              <a:rPr lang="en-US" dirty="0"/>
              <a:t>CHAPTER TITLE (font orange BEBAS KAI 20PT, GENERIC BACKGROUND)</a:t>
            </a:r>
          </a:p>
        </p:txBody>
      </p:sp>
      <p:pic>
        <p:nvPicPr>
          <p:cNvPr id="14" name="image11.pn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840067" y="532916"/>
            <a:ext cx="1834224" cy="456361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58A63429-A1A0-1B49-B241-25118B4759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702" b="36156"/>
          <a:stretch/>
        </p:blipFill>
        <p:spPr>
          <a:xfrm>
            <a:off x="7082850" y="0"/>
            <a:ext cx="5109151" cy="6858000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1387FBEE-6EB2-214B-B5A6-75E00C1AA01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68" t="53708" r="64548" b="20580"/>
          <a:stretch/>
        </p:blipFill>
        <p:spPr>
          <a:xfrm rot="16200000">
            <a:off x="201461" y="-201463"/>
            <a:ext cx="2359376" cy="2762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7779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DG 6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E2A8CA64-EE77-244A-8812-7C9260222F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92" t="44293"/>
          <a:stretch/>
        </p:blipFill>
        <p:spPr>
          <a:xfrm rot="10800000">
            <a:off x="6818515" y="876422"/>
            <a:ext cx="5373485" cy="5981579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5A285A5F-B307-7049-80B4-CFCA834BAE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1" t="26159" r="44467" b="50088"/>
          <a:stretch/>
        </p:blipFill>
        <p:spPr>
          <a:xfrm rot="10800000">
            <a:off x="-1" y="-1"/>
            <a:ext cx="4164879" cy="2550503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59833" y="1439555"/>
            <a:ext cx="10505832" cy="646131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/>
              <a:t>SLIDE TITLE (font BLUE BEBAS KAI 35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9833" y="1092767"/>
            <a:ext cx="10505832" cy="369219"/>
          </a:xfrm>
        </p:spPr>
        <p:txBody>
          <a:bodyPr/>
          <a:lstStyle>
            <a:lvl1pPr>
              <a:defRPr baseline="0">
                <a:latin typeface="+mj-lt"/>
                <a:sym typeface="+mn-lt"/>
              </a:defRPr>
            </a:lvl1pPr>
          </a:lstStyle>
          <a:p>
            <a:r>
              <a:rPr lang="en-US" dirty="0"/>
              <a:t>CHAPTER TITLE (font orange BEBAS KAI 20PT, SDG 6 BACKGROUND)</a:t>
            </a:r>
          </a:p>
        </p:txBody>
      </p:sp>
      <p:pic>
        <p:nvPicPr>
          <p:cNvPr id="14" name="image11.png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0067" y="532916"/>
            <a:ext cx="1834224" cy="45636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71764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DG 7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02B169AB-0B8F-CD45-A747-3733522119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896" b="39771"/>
          <a:stretch/>
        </p:blipFill>
        <p:spPr>
          <a:xfrm rot="16200000">
            <a:off x="6811114" y="1477111"/>
            <a:ext cx="4225396" cy="6536384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FE286F7F-72A3-C74B-A05D-491E91F824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788" t="1" r="-2" b="65413"/>
          <a:stretch/>
        </p:blipFill>
        <p:spPr>
          <a:xfrm rot="5400000">
            <a:off x="219970" y="-219970"/>
            <a:ext cx="3313607" cy="3753548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59833" y="1439555"/>
            <a:ext cx="10505832" cy="646131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/>
              <a:t>SLIDE TITLE (font BLUE BEBAS KAI 35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9833" y="1092767"/>
            <a:ext cx="10505832" cy="369219"/>
          </a:xfrm>
        </p:spPr>
        <p:txBody>
          <a:bodyPr/>
          <a:lstStyle>
            <a:lvl1pPr>
              <a:defRPr baseline="0">
                <a:latin typeface="+mj-lt"/>
                <a:sym typeface="+mn-lt"/>
              </a:defRPr>
            </a:lvl1pPr>
          </a:lstStyle>
          <a:p>
            <a:r>
              <a:rPr lang="en-US" dirty="0"/>
              <a:t>CHAPTER TITLE (font orange BEBAS KAI 20PT, SDG 7 BACKGROUND)</a:t>
            </a:r>
          </a:p>
        </p:txBody>
      </p:sp>
      <p:pic>
        <p:nvPicPr>
          <p:cNvPr id="14" name="image11.png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0067" y="532916"/>
            <a:ext cx="1834224" cy="45636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199573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DG 9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38F8F076-DA69-CB49-9EAB-4F82564192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89" t="29804" b="29336"/>
          <a:stretch/>
        </p:blipFill>
        <p:spPr>
          <a:xfrm rot="10800000">
            <a:off x="7759978" y="3442049"/>
            <a:ext cx="4432023" cy="3415948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557BE82C-B923-D64E-832E-BE80375DA8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12" t="32166" r="28486" b="48488"/>
          <a:stretch/>
        </p:blipFill>
        <p:spPr>
          <a:xfrm rot="10800000">
            <a:off x="1" y="1"/>
            <a:ext cx="2878167" cy="1324076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59833" y="1439555"/>
            <a:ext cx="10565147" cy="646131"/>
          </a:xfrm>
        </p:spPr>
        <p:txBody>
          <a:bodyPr/>
          <a:lstStyle>
            <a:lvl1pPr marL="0" marR="0" indent="0" algn="l" defTabSz="103876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/>
              <a:t>SLIDE TITLE (font BLUE BEBAS KAI 35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9833" y="1094063"/>
            <a:ext cx="10565147" cy="369219"/>
          </a:xfrm>
        </p:spPr>
        <p:txBody>
          <a:bodyPr/>
          <a:lstStyle>
            <a:lvl1pPr>
              <a:defRPr baseline="0">
                <a:latin typeface="+mj-lt"/>
                <a:sym typeface="+mn-lt"/>
              </a:defRPr>
            </a:lvl1pPr>
          </a:lstStyle>
          <a:p>
            <a:r>
              <a:rPr lang="en-US" dirty="0"/>
              <a:t>CHAPTER TITLE (font orange BEBAS KAI 20PT, SDG 9 BACKGROUND)</a:t>
            </a:r>
          </a:p>
        </p:txBody>
      </p:sp>
      <p:pic>
        <p:nvPicPr>
          <p:cNvPr id="14" name="image11.png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0067" y="532916"/>
            <a:ext cx="1834224" cy="45636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903337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DG 11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 14">
            <a:extLst>
              <a:ext uri="{FF2B5EF4-FFF2-40B4-BE49-F238E27FC236}">
                <a16:creationId xmlns:a16="http://schemas.microsoft.com/office/drawing/2014/main" id="{C6808997-2CE9-554A-90E4-2966EE458C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63" r="47498" b="34049"/>
          <a:stretch/>
        </p:blipFill>
        <p:spPr>
          <a:xfrm rot="10800000">
            <a:off x="0" y="0"/>
            <a:ext cx="2798216" cy="3317200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D0A968DC-825B-034A-980B-38B7BC3D79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928" r="35674" b="26400"/>
          <a:stretch/>
        </p:blipFill>
        <p:spPr>
          <a:xfrm>
            <a:off x="8068741" y="1808773"/>
            <a:ext cx="4123260" cy="5049228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59833" y="1439555"/>
            <a:ext cx="10565147" cy="646131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/>
              <a:t>SLIDE TITLE (font BLUE BEBAS KAI 35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9833" y="1094063"/>
            <a:ext cx="10565147" cy="369219"/>
          </a:xfrm>
        </p:spPr>
        <p:txBody>
          <a:bodyPr/>
          <a:lstStyle>
            <a:lvl1pPr>
              <a:defRPr baseline="0">
                <a:latin typeface="+mj-lt"/>
                <a:sym typeface="+mn-lt"/>
              </a:defRPr>
            </a:lvl1pPr>
          </a:lstStyle>
          <a:p>
            <a:r>
              <a:rPr lang="en-US" dirty="0"/>
              <a:t>CHAPTER TITLE (font orange BEBAS KAI 20PT, SDG 11 BACKGROUND)</a:t>
            </a:r>
          </a:p>
        </p:txBody>
      </p:sp>
      <p:pic>
        <p:nvPicPr>
          <p:cNvPr id="14" name="image11.png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0067" y="532916"/>
            <a:ext cx="1834224" cy="45636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98937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DG 12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510E89D1-2E9E-1D44-BA18-F66CB6361D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089" b="35662"/>
          <a:stretch/>
        </p:blipFill>
        <p:spPr>
          <a:xfrm rot="16200000">
            <a:off x="8399441" y="3065442"/>
            <a:ext cx="3172207" cy="4412913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5A049CAB-E85B-F746-B55B-00DD067919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350" b="64809"/>
          <a:stretch/>
        </p:blipFill>
        <p:spPr>
          <a:xfrm rot="5400000">
            <a:off x="-53986" y="53982"/>
            <a:ext cx="2521671" cy="2413701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59833" y="1439555"/>
            <a:ext cx="10565147" cy="646131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/>
              <a:t>SLIDE TITLE (font BLUE BEBAS KAI 35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9833" y="1094063"/>
            <a:ext cx="10565147" cy="369219"/>
          </a:xfrm>
        </p:spPr>
        <p:txBody>
          <a:bodyPr/>
          <a:lstStyle>
            <a:lvl1pPr>
              <a:defRPr baseline="0">
                <a:latin typeface="+mj-lt"/>
                <a:sym typeface="+mn-lt"/>
              </a:defRPr>
            </a:lvl1pPr>
          </a:lstStyle>
          <a:p>
            <a:r>
              <a:rPr lang="en-US" dirty="0"/>
              <a:t>CHAPTER TITLE (font orange BEBAS KAI 20PT, SDG 12 BACKGROUND)</a:t>
            </a:r>
          </a:p>
        </p:txBody>
      </p:sp>
      <p:pic>
        <p:nvPicPr>
          <p:cNvPr id="14" name="image11.png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0067" y="532916"/>
            <a:ext cx="1834224" cy="45636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5263813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ITLE - GREY WAFES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hape 195"/>
          <p:cNvSpPr/>
          <p:nvPr userDrawn="1"/>
        </p:nvSpPr>
        <p:spPr>
          <a:xfrm>
            <a:off x="0" y="0"/>
            <a:ext cx="12189883" cy="6855883"/>
          </a:xfrm>
          <a:prstGeom prst="rect">
            <a:avLst/>
          </a:prstGeom>
          <a:solidFill>
            <a:srgbClr val="9F968F">
              <a:alpha val="52999"/>
            </a:srgbClr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60940" rIns="60940" anchor="ctr"/>
          <a:lstStyle>
            <a:lvl1pPr algn="ctr" defTabSz="457200">
              <a:lnSpc>
                <a:spcPct val="100000"/>
              </a:lnSpc>
              <a:defRPr sz="1200">
                <a:solidFill>
                  <a:srgbClr val="9F968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1600"/>
              <a:t> </a:t>
            </a:r>
          </a:p>
        </p:txBody>
      </p:sp>
      <p:pic>
        <p:nvPicPr>
          <p:cNvPr id="11" name="image24.pn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984342" y="182840"/>
            <a:ext cx="2888841" cy="882259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59833" y="2783142"/>
            <a:ext cx="10565147" cy="1846146"/>
          </a:xfrm>
        </p:spPr>
        <p:txBody>
          <a:bodyPr/>
          <a:lstStyle>
            <a:lvl1pPr marL="0" marR="0" indent="0" algn="l" defTabSz="103876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sz="6665">
                <a:solidFill>
                  <a:schemeClr val="bg1"/>
                </a:solidFill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marL="0" marR="0" lvl="0" indent="0" algn="l" defTabSz="103876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r>
              <a:rPr lang="en-US" dirty="0"/>
              <a:t>SLIDE TITLE WORLD ALLIANCE </a:t>
            </a:r>
          </a:p>
          <a:p>
            <a:pPr marL="0" marR="0" lvl="0" indent="0" algn="l" defTabSz="103876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r>
              <a:rPr lang="en-US" dirty="0"/>
              <a:t>(font white BEBAS KAI 50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9833" y="2279297"/>
            <a:ext cx="10565147" cy="504690"/>
          </a:xfrm>
          <a:ln w="12700">
            <a:miter lim="400000"/>
          </a:ln>
        </p:spPr>
        <p:txBody>
          <a:bodyPr wrap="square" lIns="0" tIns="0" rIns="0" bIns="0">
            <a:spAutoFit/>
          </a:bodyPr>
          <a:lstStyle>
            <a:lvl1pPr>
              <a:defRPr lang="en-US" sz="3999" dirty="0">
                <a:solidFill>
                  <a:srgbClr val="183D5B"/>
                </a:solidFill>
              </a:defRPr>
            </a:lvl1pPr>
          </a:lstStyle>
          <a:p>
            <a:pPr lvl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CHAPTER title (font blue BEBAS KAI 30PT)</a:t>
            </a:r>
          </a:p>
        </p:txBody>
      </p:sp>
    </p:spTree>
    <p:extLst>
      <p:ext uri="{BB962C8B-B14F-4D97-AF65-F5344CB8AC3E}">
        <p14:creationId xmlns:p14="http://schemas.microsoft.com/office/powerpoint/2010/main" val="34798901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WAFES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hape 195"/>
          <p:cNvSpPr/>
          <p:nvPr userDrawn="1"/>
        </p:nvSpPr>
        <p:spPr>
          <a:xfrm>
            <a:off x="0" y="0"/>
            <a:ext cx="12189883" cy="6855883"/>
          </a:xfrm>
          <a:prstGeom prst="rect">
            <a:avLst/>
          </a:prstGeom>
          <a:solidFill>
            <a:srgbClr val="9F968F">
              <a:alpha val="52999"/>
            </a:srgbClr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60940" rIns="60940" anchor="ctr"/>
          <a:lstStyle>
            <a:lvl1pPr algn="ctr" defTabSz="457200">
              <a:lnSpc>
                <a:spcPct val="100000"/>
              </a:lnSpc>
              <a:defRPr sz="1200">
                <a:solidFill>
                  <a:srgbClr val="9F968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1600"/>
              <a:t> </a:t>
            </a:r>
          </a:p>
        </p:txBody>
      </p:sp>
      <p:pic>
        <p:nvPicPr>
          <p:cNvPr id="15" name="image24.png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984342" y="182840"/>
            <a:ext cx="2888841" cy="882259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59834" y="1439555"/>
            <a:ext cx="11230049" cy="64613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/>
              <a:t>SLIDE TITLE WA (font WHITE BEBAS KAI 35P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9833" y="1094063"/>
            <a:ext cx="10565147" cy="369219"/>
          </a:xfrm>
        </p:spPr>
        <p:txBody>
          <a:bodyPr/>
          <a:lstStyle>
            <a:lvl1pPr>
              <a:defRPr baseline="0">
                <a:solidFill>
                  <a:srgbClr val="183D5B"/>
                </a:solidFill>
                <a:latin typeface="+mj-lt"/>
                <a:sym typeface="+mn-lt"/>
              </a:defRPr>
            </a:lvl1pPr>
          </a:lstStyle>
          <a:p>
            <a:r>
              <a:rPr lang="en-US" dirty="0"/>
              <a:t>CHAPTER title (font blue BEBAS KAI 20PT)</a:t>
            </a:r>
          </a:p>
        </p:txBody>
      </p:sp>
    </p:spTree>
    <p:extLst>
      <p:ext uri="{BB962C8B-B14F-4D97-AF65-F5344CB8AC3E}">
        <p14:creationId xmlns:p14="http://schemas.microsoft.com/office/powerpoint/2010/main" val="8834234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E0D66E4-1B08-5849-87FB-C4EBCC0E1594}"/>
              </a:ext>
            </a:extLst>
          </p:cNvPr>
          <p:cNvSpPr/>
          <p:nvPr userDrawn="1"/>
        </p:nvSpPr>
        <p:spPr>
          <a:xfrm>
            <a:off x="0" y="2821660"/>
            <a:ext cx="12192000" cy="406073"/>
          </a:xfrm>
          <a:prstGeom prst="rect">
            <a:avLst/>
          </a:prstGeom>
          <a:solidFill>
            <a:srgbClr val="173E5B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rtlCol="0" anchor="ctr">
            <a:spAutoFit/>
          </a:bodyPr>
          <a:lstStyle/>
          <a:p>
            <a:pPr algn="ctr" defTabSz="1100308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fr-FR" sz="2932" b="0" kern="0" dirty="0">
              <a:solidFill>
                <a:srgbClr val="173E5B"/>
              </a:solidFill>
              <a:latin typeface="DIN-Regular"/>
              <a:ea typeface="DIN-Regular"/>
              <a:cs typeface="DIN-Regular"/>
              <a:sym typeface="DIN-Regular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hape 25"/>
          <p:cNvSpPr/>
          <p:nvPr userDrawn="1"/>
        </p:nvSpPr>
        <p:spPr>
          <a:xfrm>
            <a:off x="5261198" y="6317127"/>
            <a:ext cx="1484381" cy="2873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400" u="sng">
                <a:solidFill>
                  <a:srgbClr val="FFFFFF"/>
                </a:solidFill>
                <a:latin typeface="DIN-Medium"/>
                <a:ea typeface="DIN-Medium"/>
                <a:cs typeface="DIN-Medium"/>
                <a:sym typeface="DIN-Medium"/>
              </a:defRPr>
            </a:lvl1pPr>
          </a:lstStyle>
          <a:p>
            <a:r>
              <a:rPr sz="1867" u="none" dirty="0">
                <a:solidFill>
                  <a:schemeClr val="tx1"/>
                </a:solidFill>
              </a:rPr>
              <a:t>#1000solutions</a:t>
            </a:r>
          </a:p>
        </p:txBody>
      </p:sp>
      <p:sp>
        <p:nvSpPr>
          <p:cNvPr id="11" name="Shape 28"/>
          <p:cNvSpPr/>
          <p:nvPr userDrawn="1"/>
        </p:nvSpPr>
        <p:spPr>
          <a:xfrm>
            <a:off x="8642659" y="6321712"/>
            <a:ext cx="1572075" cy="2873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400">
                <a:solidFill>
                  <a:srgbClr val="FFFFFF"/>
                </a:solidFill>
                <a:latin typeface="DIN-Medium"/>
                <a:ea typeface="DIN-Medium"/>
                <a:cs typeface="DIN-Medium"/>
                <a:sym typeface="DIN-Medium"/>
              </a:defRPr>
            </a:lvl1pPr>
          </a:lstStyle>
          <a:p>
            <a:r>
              <a:rPr sz="1867" dirty="0">
                <a:solidFill>
                  <a:schemeClr val="tx1"/>
                </a:solidFill>
              </a:rPr>
              <a:t>Follow us on:</a:t>
            </a:r>
          </a:p>
        </p:txBody>
      </p:sp>
      <p:sp>
        <p:nvSpPr>
          <p:cNvPr id="14" name="Shape 29"/>
          <p:cNvSpPr/>
          <p:nvPr userDrawn="1"/>
        </p:nvSpPr>
        <p:spPr>
          <a:xfrm>
            <a:off x="469843" y="6317127"/>
            <a:ext cx="3646768" cy="28732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 anchor="ctr">
            <a:sp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400" u="sng">
                <a:solidFill>
                  <a:srgbClr val="FFFFFF"/>
                </a:solidFill>
                <a:latin typeface="DIN-Medium"/>
                <a:ea typeface="DIN-Medium"/>
                <a:cs typeface="DIN-Medium"/>
                <a:sym typeface="DIN-Medium"/>
                <a:hlinkClick r:id="" action="ppaction://noaction"/>
              </a:defRPr>
            </a:lvl1pPr>
          </a:lstStyle>
          <a:p>
            <a:r>
              <a:rPr lang="fr-CH" sz="1867" dirty="0" err="1"/>
              <a:t>willem.vanhasselt@solarimpulse.com</a:t>
            </a:r>
            <a:endParaRPr sz="1867" dirty="0"/>
          </a:p>
        </p:txBody>
      </p:sp>
      <p:pic>
        <p:nvPicPr>
          <p:cNvPr id="16" name="Image 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4733" y="6296979"/>
            <a:ext cx="1267951" cy="344875"/>
          </a:xfrm>
          <a:prstGeom prst="rect">
            <a:avLst/>
          </a:prstGeom>
        </p:spPr>
      </p:pic>
      <p:sp>
        <p:nvSpPr>
          <p:cNvPr id="12" name="Slide Number Placeholder" hidden="1"/>
          <p:cNvSpPr>
            <a:spLocks noGrp="1"/>
          </p:cNvSpPr>
          <p:nvPr>
            <p:ph type="sldNum" sz="quarter" idx="11"/>
            <p:custDataLst>
              <p:tags r:id="rId3"/>
            </p:custDataLst>
          </p:nvPr>
        </p:nvSpPr>
        <p:spPr>
          <a:xfrm>
            <a:off x="12273232" y="173483"/>
            <a:ext cx="40076" cy="4110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67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12273234" y="228650"/>
            <a:ext cx="65" cy="41102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67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959834" y="1439555"/>
            <a:ext cx="10522849" cy="64613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 dirty="0"/>
              <a:t>THANK YOU (font WHITE BEBAS KAI 35PT)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568563D-CE52-4A43-9658-AEB842F5C1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alphaModFix amt="4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614" r="47916" b="25230"/>
          <a:stretch/>
        </p:blipFill>
        <p:spPr>
          <a:xfrm>
            <a:off x="7148929" y="0"/>
            <a:ext cx="5043073" cy="6049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16360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only use for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51372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C58A1-5619-4763-AD6D-72676D0105EF}" type="datetime1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8/19/2020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pag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pPr/>
              <a:t>‹#›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29781489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 MA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609"/>
          <a:stretch/>
        </p:blipFill>
        <p:spPr>
          <a:xfrm>
            <a:off x="0" y="-27382"/>
            <a:ext cx="12192000" cy="619268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7" y="251520"/>
            <a:ext cx="3360884" cy="96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9384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1 MA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39" b="4494"/>
          <a:stretch/>
        </p:blipFill>
        <p:spPr>
          <a:xfrm>
            <a:off x="-20" y="-27382"/>
            <a:ext cx="12192023" cy="612067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7" y="251520"/>
            <a:ext cx="3360884" cy="96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3545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1 MA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06" b="3385"/>
          <a:stretch/>
        </p:blipFill>
        <p:spPr>
          <a:xfrm>
            <a:off x="-32" y="0"/>
            <a:ext cx="12192032" cy="616530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7" y="251520"/>
            <a:ext cx="3360884" cy="96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218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1 MA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344"/>
          <a:stretch/>
        </p:blipFill>
        <p:spPr>
          <a:xfrm>
            <a:off x="0" y="7116"/>
            <a:ext cx="12232155" cy="615818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7" y="251520"/>
            <a:ext cx="3360884" cy="9696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339" y="251520"/>
            <a:ext cx="3360884" cy="96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1117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 1 MA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91"/>
          <a:stretch/>
        </p:blipFill>
        <p:spPr>
          <a:xfrm>
            <a:off x="0" y="0"/>
            <a:ext cx="12212312" cy="638132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339" y="251520"/>
            <a:ext cx="3360884" cy="9696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2278" y="347531"/>
            <a:ext cx="3360884" cy="96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81235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 1 MA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39" b="3385"/>
          <a:stretch/>
        </p:blipFill>
        <p:spPr>
          <a:xfrm>
            <a:off x="-14" y="0"/>
            <a:ext cx="12192015" cy="616530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0645" y="347531"/>
            <a:ext cx="3303627" cy="1440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43784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 1 MA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39" b="3385"/>
          <a:stretch/>
        </p:blipFill>
        <p:spPr>
          <a:xfrm>
            <a:off x="-21" y="0"/>
            <a:ext cx="12192025" cy="616530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2278" y="347531"/>
            <a:ext cx="3360884" cy="96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07664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 1 MA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9" t="1124" r="3944" b="3205"/>
          <a:stretch/>
        </p:blipFill>
        <p:spPr>
          <a:xfrm>
            <a:off x="0" y="-99391"/>
            <a:ext cx="12192000" cy="619268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2278" y="347531"/>
            <a:ext cx="3360884" cy="9696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1" y="155509"/>
            <a:ext cx="3360884" cy="96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5680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 1 MA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84"/>
          <a:stretch/>
        </p:blipFill>
        <p:spPr>
          <a:xfrm>
            <a:off x="-11" y="0"/>
            <a:ext cx="12192012" cy="637200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1129" y="347530"/>
            <a:ext cx="2863143" cy="1248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1709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 1 MA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89" b="4516"/>
          <a:stretch/>
        </p:blipFill>
        <p:spPr>
          <a:xfrm>
            <a:off x="-16" y="0"/>
            <a:ext cx="12192016" cy="608842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246" y="299840"/>
            <a:ext cx="3360884" cy="969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1" y="306143"/>
            <a:ext cx="3360884" cy="96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5970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71744-C239-44BA-8B49-3AA4136CBEC0}" type="datetime1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8/19/2020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pPr/>
              <a:t>‹#›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39602389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page MA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5360" y="260648"/>
            <a:ext cx="7104789" cy="1143000"/>
          </a:xfrm>
        </p:spPr>
        <p:txBody>
          <a:bodyPr>
            <a:normAutofit/>
          </a:bodyPr>
          <a:lstStyle>
            <a:lvl1pPr algn="l">
              <a:defRPr sz="3733" b="0">
                <a:solidFill>
                  <a:srgbClr val="00AC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719403" y="2060848"/>
            <a:ext cx="7391400" cy="4103688"/>
          </a:xfrm>
        </p:spPr>
        <p:txBody>
          <a:bodyPr/>
          <a:lstStyle>
            <a:lvl1pPr marL="342891" indent="-342891">
              <a:buFont typeface="+mj-lt"/>
              <a:buAutoNum type="arabicPeriod"/>
              <a:defRPr sz="1800" baseline="0">
                <a:solidFill>
                  <a:srgbClr val="232C6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solidFill>
                  <a:srgbClr val="9651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00AC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solidFill>
                  <a:srgbClr val="00AD6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solidFill>
                  <a:srgbClr val="B21E2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19409" y="1628803"/>
            <a:ext cx="5759449" cy="647700"/>
          </a:xfrm>
        </p:spPr>
        <p:txBody>
          <a:bodyPr/>
          <a:lstStyle>
            <a:lvl1pPr>
              <a:defRPr baseline="0">
                <a:solidFill>
                  <a:srgbClr val="232C64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3681154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MA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1371" y="1628800"/>
            <a:ext cx="5376597" cy="4525963"/>
          </a:xfrm>
        </p:spPr>
        <p:txBody>
          <a:bodyPr>
            <a:normAutofit/>
          </a:bodyPr>
          <a:lstStyle>
            <a:lvl1pPr marL="0" indent="0">
              <a:buNone/>
              <a:defRPr sz="2000" b="0">
                <a:solidFill>
                  <a:srgbClr val="232C6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 b="0">
                <a:solidFill>
                  <a:srgbClr val="9651A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 b="0">
                <a:solidFill>
                  <a:srgbClr val="00AC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 b="0">
                <a:solidFill>
                  <a:srgbClr val="00AD6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 b="0">
                <a:solidFill>
                  <a:srgbClr val="B21E2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39350" y="260648"/>
            <a:ext cx="7104789" cy="1143000"/>
          </a:xfrm>
        </p:spPr>
        <p:txBody>
          <a:bodyPr>
            <a:normAutofit/>
          </a:bodyPr>
          <a:lstStyle>
            <a:lvl1pPr algn="l">
              <a:defRPr sz="3733" b="0">
                <a:solidFill>
                  <a:srgbClr val="00AC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6096007" y="1628800"/>
            <a:ext cx="5472940" cy="4536504"/>
          </a:xfrm>
        </p:spPr>
        <p:txBody>
          <a:bodyPr/>
          <a:lstStyle>
            <a:lvl1pPr>
              <a:defRPr>
                <a:solidFill>
                  <a:srgbClr val="232C64"/>
                </a:solidFill>
              </a:defRPr>
            </a:lvl1pPr>
            <a:lvl2pPr>
              <a:defRPr>
                <a:solidFill>
                  <a:srgbClr val="9651A0"/>
                </a:solidFill>
              </a:defRPr>
            </a:lvl2pPr>
            <a:lvl3pPr>
              <a:defRPr>
                <a:solidFill>
                  <a:srgbClr val="00ACC8"/>
                </a:solidFill>
              </a:defRPr>
            </a:lvl3pPr>
            <a:lvl4pPr>
              <a:defRPr>
                <a:solidFill>
                  <a:srgbClr val="00AD68"/>
                </a:solidFill>
              </a:defRPr>
            </a:lvl4pPr>
            <a:lvl5pPr>
              <a:defRPr>
                <a:solidFill>
                  <a:srgbClr val="B21E28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83629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 Content MA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39349" y="283891"/>
            <a:ext cx="7296811" cy="1143000"/>
          </a:xfrm>
        </p:spPr>
        <p:txBody>
          <a:bodyPr>
            <a:normAutofit/>
          </a:bodyPr>
          <a:lstStyle>
            <a:lvl1pPr algn="l">
              <a:defRPr sz="3733" b="0">
                <a:solidFill>
                  <a:srgbClr val="00AC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623394" y="1988840"/>
            <a:ext cx="8352367" cy="3743325"/>
          </a:xfrm>
        </p:spPr>
        <p:txBody>
          <a:bodyPr/>
          <a:lstStyle>
            <a:lvl1pPr>
              <a:defRPr>
                <a:solidFill>
                  <a:srgbClr val="232C64"/>
                </a:solidFill>
              </a:defRPr>
            </a:lvl1pPr>
            <a:lvl2pPr>
              <a:defRPr>
                <a:solidFill>
                  <a:srgbClr val="9651A0"/>
                </a:solidFill>
              </a:defRPr>
            </a:lvl2pPr>
            <a:lvl3pPr>
              <a:defRPr>
                <a:solidFill>
                  <a:srgbClr val="00ACC8"/>
                </a:solidFill>
              </a:defRPr>
            </a:lvl3pPr>
            <a:lvl4pPr>
              <a:defRPr>
                <a:solidFill>
                  <a:srgbClr val="00AD68"/>
                </a:solidFill>
              </a:defRPr>
            </a:lvl4pPr>
            <a:lvl5pPr>
              <a:defRPr>
                <a:solidFill>
                  <a:srgbClr val="B21E28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971358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 MA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39349" y="283891"/>
            <a:ext cx="7008779" cy="1143000"/>
          </a:xfrm>
        </p:spPr>
        <p:txBody>
          <a:bodyPr>
            <a:normAutofit/>
          </a:bodyPr>
          <a:lstStyle>
            <a:lvl1pPr algn="l">
              <a:defRPr sz="3733" b="0">
                <a:solidFill>
                  <a:srgbClr val="00ACC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1"/>
          </p:nvPr>
        </p:nvSpPr>
        <p:spPr>
          <a:xfrm>
            <a:off x="719670" y="2205042"/>
            <a:ext cx="10369551" cy="3527425"/>
          </a:xfrm>
        </p:spPr>
        <p:txBody>
          <a:bodyPr/>
          <a:lstStyle/>
          <a:p>
            <a:pPr lvl="0"/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9808366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lide MA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 userDrawn="1"/>
        </p:nvSpPr>
        <p:spPr bwMode="auto">
          <a:xfrm>
            <a:off x="239350" y="260648"/>
            <a:ext cx="7104789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norm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0" kern="1200">
                <a:solidFill>
                  <a:srgbClr val="9651A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377">
              <a:defRPr/>
            </a:pPr>
            <a:r>
              <a:rPr lang="en-US" sz="3733" dirty="0">
                <a:solidFill>
                  <a:srgbClr val="00ACC8"/>
                </a:solidFill>
              </a:rPr>
              <a:t>click to edit master title style</a:t>
            </a:r>
            <a:endParaRPr lang="en-GB" sz="3733" dirty="0">
              <a:solidFill>
                <a:srgbClr val="00ACC8"/>
              </a:solidFill>
            </a:endParaRP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624425" y="2420939"/>
            <a:ext cx="9984316" cy="3529012"/>
          </a:xfrm>
        </p:spPr>
        <p:txBody>
          <a:bodyPr/>
          <a:lstStyle/>
          <a:p>
            <a:pPr lvl="0"/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1235730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MA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7383" y="1844829"/>
            <a:ext cx="8544983" cy="2808287"/>
          </a:xfrm>
        </p:spPr>
        <p:txBody>
          <a:bodyPr/>
          <a:lstStyle>
            <a:lvl1pPr>
              <a:defRPr>
                <a:solidFill>
                  <a:srgbClr val="232C64"/>
                </a:solidFill>
              </a:defRPr>
            </a:lvl1pPr>
            <a:lvl2pPr>
              <a:defRPr>
                <a:solidFill>
                  <a:srgbClr val="9651A0"/>
                </a:solidFill>
              </a:defRPr>
            </a:lvl2pPr>
            <a:lvl3pPr>
              <a:defRPr>
                <a:solidFill>
                  <a:srgbClr val="00ACC8"/>
                </a:solidFill>
              </a:defRPr>
            </a:lvl3pPr>
            <a:lvl4pPr>
              <a:defRPr>
                <a:solidFill>
                  <a:srgbClr val="00AD68"/>
                </a:solidFill>
              </a:defRPr>
            </a:lvl4pPr>
            <a:lvl5pPr>
              <a:defRPr>
                <a:solidFill>
                  <a:srgbClr val="B21E28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61938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232C64"/>
                </a:solidFill>
              </a:defRPr>
            </a:lvl1pPr>
            <a:lvl2pPr>
              <a:defRPr>
                <a:solidFill>
                  <a:srgbClr val="00ACC8"/>
                </a:solidFill>
              </a:defRPr>
            </a:lvl2pPr>
            <a:lvl3pPr>
              <a:defRPr>
                <a:solidFill>
                  <a:srgbClr val="9651A0"/>
                </a:solidFill>
              </a:defRPr>
            </a:lvl3pPr>
            <a:lvl4pPr>
              <a:defRPr>
                <a:solidFill>
                  <a:srgbClr val="232C64"/>
                </a:solidFill>
              </a:defRPr>
            </a:lvl4pPr>
            <a:lvl5pPr>
              <a:defRPr>
                <a:solidFill>
                  <a:srgbClr val="232C64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12193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36C5BE-9F13-4E6B-91C3-A6A9F738C304}" type="datetime1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8/19/2020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pag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pPr/>
              <a:t>‹#›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30829302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B58352-C25C-487F-B4C6-8022412D0FC4}" type="datetime1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8/19/2020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pag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pPr/>
              <a:t>‹#›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411586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4D8355-73BB-4D82-B95F-6B617593D19C}" type="datetime1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8/19/2020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pag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pPr/>
              <a:t>‹#›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2378276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CA0695-F8E7-4CBA-AA9A-250D48C89667}" type="datetime1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8/19/2020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pag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pPr/>
              <a:t>‹#›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528381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49.xml"/><Relationship Id="rId19" Type="http://schemas.openxmlformats.org/officeDocument/2006/relationships/image" Target="../media/image23.png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9"/>
            <a:fld id="{FAABBF0E-94D9-4853-A107-4C429C73B5A5}" type="datetime1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pPr defTabSz="457189"/>
              <a:t>8/19/2020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9"/>
            <a:r>
              <a:rPr lang="en-US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t>page</a:t>
            </a:r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9"/>
            <a:fld id="{6D22F896-40B5-4ADD-8801-0D06FADFA095}" type="slidenum">
              <a:rPr lang="en-US" smtClean="0">
                <a:gradFill flip="none" rotWithShape="1">
                  <a:gsLst>
                    <a:gs pos="28000">
                      <a:prstClr val="white">
                        <a:lumMod val="93000"/>
                      </a:prstClr>
                    </a:gs>
                    <a:gs pos="0">
                      <a:prstClr val="black">
                        <a:lumMod val="38000"/>
                        <a:lumOff val="62000"/>
                      </a:prstClr>
                    </a:gs>
                    <a:gs pos="100000">
                      <a:srgbClr val="94D7E4">
                        <a:lumMod val="0"/>
                        <a:lumOff val="100000"/>
                      </a:srgbClr>
                    </a:gs>
                  </a:gsLst>
                  <a:lin ang="5400000" scaled="1"/>
                  <a:tileRect/>
                </a:gradFill>
              </a:rPr>
              <a:pPr defTabSz="457189"/>
              <a:t>‹#›</a:t>
            </a:fld>
            <a:endParaRPr lang="en-US" dirty="0">
              <a:gradFill flip="none" rotWithShape="1">
                <a:gsLst>
                  <a:gs pos="28000">
                    <a:prstClr val="white">
                      <a:lumMod val="93000"/>
                    </a:prstClr>
                  </a:gs>
                  <a:gs pos="0">
                    <a:prstClr val="black">
                      <a:lumMod val="38000"/>
                      <a:lumOff val="62000"/>
                    </a:prstClr>
                  </a:gs>
                  <a:gs pos="100000">
                    <a:srgbClr val="94D7E4">
                      <a:lumMod val="0"/>
                      <a:lumOff val="100000"/>
                    </a:srgbClr>
                  </a:gs>
                </a:gsLst>
                <a:lin ang="5400000" scaled="1"/>
                <a:tileRect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947121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5" r:id="rId2"/>
    <p:sldLayoutId id="2147484076" r:id="rId3"/>
    <p:sldLayoutId id="2147484077" r:id="rId4"/>
    <p:sldLayoutId id="2147484078" r:id="rId5"/>
    <p:sldLayoutId id="2147484079" r:id="rId6"/>
    <p:sldLayoutId id="2147484080" r:id="rId7"/>
    <p:sldLayoutId id="2147484081" r:id="rId8"/>
    <p:sldLayoutId id="2147484082" r:id="rId9"/>
    <p:sldLayoutId id="2147484083" r:id="rId10"/>
    <p:sldLayoutId id="2147484084" r:id="rId11"/>
    <p:sldLayoutId id="2147483887" r:id="rId12"/>
    <p:sldLayoutId id="2147484086" r:id="rId13"/>
    <p:sldLayoutId id="2147484087" r:id="rId14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!!!Do not delete this th-style object!!!!" hidden="1"/>
          <p:cNvGraphicFramePr>
            <a:graphicFrameLocks noChangeAspect="1"/>
          </p:cNvGraphicFramePr>
          <p:nvPr>
            <p:custDataLst>
              <p:tags r:id="rId28"/>
            </p:custDataLst>
          </p:nvPr>
        </p:nvGraphicFramePr>
        <p:xfrm>
          <a:off x="1958" y="1590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4" name="!!!Do not delete this th-style object!!!!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958" y="1590"/>
                        <a:ext cx="1953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!!!Do not delete this text object!!!!_2" hidden="1"/>
          <p:cNvSpPr/>
          <p:nvPr/>
        </p:nvSpPr>
        <p:spPr>
          <a:xfrm>
            <a:off x="12273234" y="57955"/>
            <a:ext cx="39877" cy="32400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lnSpc>
                <a:spcPct val="93000"/>
              </a:lnSpc>
              <a:spcBef>
                <a:spcPts val="341"/>
              </a:spcBef>
            </a:pPr>
            <a:r>
              <a:rPr lang="en-US" sz="267" b="1" dirty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1</a:t>
            </a:r>
          </a:p>
        </p:txBody>
      </p:sp>
      <p:sp>
        <p:nvSpPr>
          <p:cNvPr id="43" name="!!!Do not delete this text object!!!!" hidden="1"/>
          <p:cNvSpPr txBox="1"/>
          <p:nvPr/>
        </p:nvSpPr>
        <p:spPr>
          <a:xfrm>
            <a:off x="12273233" y="92736"/>
            <a:ext cx="862416" cy="41102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marL="0" marR="0" indent="0" algn="l" defTabSz="103876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100000"/>
              <a:buFontTx/>
              <a:buNone/>
              <a:tabLst/>
              <a:defRPr/>
            </a:pPr>
            <a:r>
              <a:rPr lang="en-US" sz="267" b="0" kern="1200" noProof="1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A4_RBSC_PPT– 2013-10_v01 – do not delete this text object! </a:t>
            </a:r>
          </a:p>
        </p:txBody>
      </p:sp>
      <p:sp>
        <p:nvSpPr>
          <p:cNvPr id="52" name="Slide Number"/>
          <p:cNvSpPr txBox="1">
            <a:spLocks noChangeArrowheads="1"/>
          </p:cNvSpPr>
          <p:nvPr/>
        </p:nvSpPr>
        <p:spPr bwMode="auto">
          <a:xfrm>
            <a:off x="11806612" y="6600931"/>
            <a:ext cx="161904" cy="147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900" b="0" smtClean="0"/>
            </a:lvl1pPr>
          </a:lstStyle>
          <a:p>
            <a:pPr marL="0" marR="0" lvl="0" indent="0" algn="l" defTabSz="1038769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AA7B471-74A3-4F5F-8955-6C99E2375CAC}" type="slidenum">
              <a:rPr kumimoji="0" lang="en-US" sz="1067" b="0" i="0" u="none" strike="noStrike" kern="1200" cap="none" spc="0" normalizeH="0" baseline="0" noProof="1" dirty="0" smtClean="0">
                <a:ln>
                  <a:noFill/>
                </a:ln>
                <a:solidFill>
                  <a:srgbClr val="173E5B"/>
                </a:solidFill>
                <a:effectLst/>
                <a:uLnTx/>
                <a:uFillTx/>
                <a:latin typeface="DIN Alternate" panose="020B0500000000000000" pitchFamily="34" charset="77"/>
                <a:ea typeface="+mn-ea"/>
                <a:cs typeface="+mn-cs"/>
                <a:sym typeface="+mn-lt"/>
              </a:rPr>
              <a:pPr marL="0" marR="0" lvl="0" indent="0" algn="l" defTabSz="1038769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67" b="0" i="0" u="none" strike="noStrike" kern="1200" cap="none" spc="0" normalizeH="0" baseline="0" noProof="1">
              <a:ln>
                <a:noFill/>
              </a:ln>
              <a:solidFill>
                <a:srgbClr val="173E5B"/>
              </a:solidFill>
              <a:effectLst/>
              <a:uLnTx/>
              <a:uFillTx/>
              <a:latin typeface="DIN Alternate" panose="020B0500000000000000" pitchFamily="34" charset="77"/>
              <a:ea typeface="+mn-ea"/>
              <a:cs typeface="+mn-cs"/>
              <a:sym typeface="+mn-lt"/>
            </a:endParaRPr>
          </a:p>
        </p:txBody>
      </p:sp>
      <p:sp>
        <p:nvSpPr>
          <p:cNvPr id="57" name="Source" hidden="1"/>
          <p:cNvSpPr txBox="1"/>
          <p:nvPr/>
        </p:nvSpPr>
        <p:spPr>
          <a:xfrm>
            <a:off x="908542" y="6686975"/>
            <a:ext cx="625171" cy="147797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en-US" sz="1067" b="0" dirty="0">
                <a:solidFill>
                  <a:schemeClr val="tx1"/>
                </a:solidFill>
                <a:latin typeface="+mn-lt"/>
                <a:cs typeface="+mn-cs"/>
                <a:sym typeface="+mn-lt"/>
              </a:rPr>
              <a:t>Source: xxx</a:t>
            </a:r>
          </a:p>
        </p:txBody>
      </p:sp>
      <p:sp>
        <p:nvSpPr>
          <p:cNvPr id="56" name="Notes" hidden="1"/>
          <p:cNvSpPr txBox="1"/>
          <p:nvPr/>
        </p:nvSpPr>
        <p:spPr>
          <a:xfrm>
            <a:off x="908541" y="6389775"/>
            <a:ext cx="362279" cy="16619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>
              <a:lnSpc>
                <a:spcPct val="90000"/>
              </a:lnSpc>
              <a:buSzPct val="100000"/>
            </a:pPr>
            <a:r>
              <a:rPr lang="en-US" sz="1200" b="0" dirty="0">
                <a:solidFill>
                  <a:schemeClr val="tx1"/>
                </a:solidFill>
                <a:latin typeface="+mn-lt"/>
                <a:cs typeface="+mn-cs"/>
                <a:sym typeface="+mn-lt"/>
              </a:rPr>
              <a:t>1) xxx</a:t>
            </a:r>
          </a:p>
        </p:txBody>
      </p:sp>
      <p:grpSp>
        <p:nvGrpSpPr>
          <p:cNvPr id="5" name="Legend" hidden="1"/>
          <p:cNvGrpSpPr/>
          <p:nvPr/>
        </p:nvGrpSpPr>
        <p:grpSpPr>
          <a:xfrm>
            <a:off x="908541" y="6195235"/>
            <a:ext cx="817766" cy="167666"/>
            <a:chOff x="738189" y="6195259"/>
            <a:chExt cx="664436" cy="167668"/>
          </a:xfrm>
        </p:grpSpPr>
        <p:sp>
          <p:nvSpPr>
            <p:cNvPr id="49" name="LegendIcon"/>
            <p:cNvSpPr/>
            <p:nvPr/>
          </p:nvSpPr>
          <p:spPr>
            <a:xfrm>
              <a:off x="738189" y="6195259"/>
              <a:ext cx="215900" cy="146050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1038769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7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0" name="LegendText"/>
            <p:cNvSpPr txBox="1"/>
            <p:nvPr/>
          </p:nvSpPr>
          <p:spPr>
            <a:xfrm>
              <a:off x="1036639" y="6196727"/>
              <a:ext cx="365986" cy="166200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none" lIns="0" tIns="0" rIns="0" bIns="0" rtlCol="0" anchor="t" anchorCtr="0">
              <a:spAutoFit/>
            </a:bodyPr>
            <a:lstStyle/>
            <a:p>
              <a:pPr marL="0" marR="0" lvl="0" indent="0" defTabSz="1038769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n-lt"/>
                  <a:cs typeface="+mn-cs"/>
                  <a:sym typeface="+mn-lt"/>
                </a:rPr>
                <a:t>Legend</a:t>
              </a:r>
            </a:p>
          </p:txBody>
        </p:sp>
      </p:grpSp>
      <p:sp>
        <p:nvSpPr>
          <p:cNvPr id="45" name="Formatted_text" hidden="1"/>
          <p:cNvSpPr txBox="1">
            <a:spLocks/>
          </p:cNvSpPr>
          <p:nvPr/>
        </p:nvSpPr>
        <p:spPr>
          <a:xfrm>
            <a:off x="908539" y="2158955"/>
            <a:ext cx="2436924" cy="116519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US" sz="1733" b="1" dirty="0">
                <a:latin typeface="+mn-lt"/>
                <a:cs typeface="+mn-cs"/>
                <a:sym typeface="+mn-lt"/>
              </a:rPr>
              <a:t>15 Point Text: Level 0</a:t>
            </a:r>
            <a:endParaRPr lang="en-US" sz="1733" b="0" dirty="0">
              <a:latin typeface="+mn-lt"/>
              <a:cs typeface="+mn-cs"/>
              <a:sym typeface="+mn-lt"/>
            </a:endParaRPr>
          </a:p>
          <a:p>
            <a:pPr marL="186954" lvl="1" indent="-186954">
              <a:lnSpc>
                <a:spcPct val="90000"/>
              </a:lnSpc>
              <a:spcBef>
                <a:spcPts val="909"/>
              </a:spcBef>
              <a:buClr>
                <a:schemeClr val="tx1"/>
              </a:buClr>
              <a:buSzPct val="100000"/>
              <a:buFont typeface="Arial Narrow"/>
              <a:buChar char="&gt;"/>
            </a:pPr>
            <a:r>
              <a:rPr lang="en-US" sz="1733" b="0" dirty="0">
                <a:latin typeface="+mn-lt"/>
                <a:cs typeface="+mn-cs"/>
                <a:sym typeface="+mn-lt"/>
              </a:rPr>
              <a:t>Level 1</a:t>
            </a:r>
          </a:p>
          <a:p>
            <a:pPr marL="391436" lvl="2" indent="-189875">
              <a:lnSpc>
                <a:spcPct val="90000"/>
              </a:lnSpc>
              <a:spcBef>
                <a:spcPts val="455"/>
              </a:spcBef>
              <a:buClr>
                <a:schemeClr val="tx1"/>
              </a:buClr>
              <a:buSzPct val="100000"/>
              <a:buFont typeface="Arial Narrow"/>
              <a:buChar char="–"/>
            </a:pPr>
            <a:r>
              <a:rPr lang="en-US" sz="1733" b="0" dirty="0">
                <a:latin typeface="+mn-lt"/>
                <a:cs typeface="+mn-cs"/>
                <a:sym typeface="+mn-lt"/>
              </a:rPr>
              <a:t>Level 2</a:t>
            </a:r>
          </a:p>
          <a:p>
            <a:pPr marL="566707" lvl="3" indent="-163585">
              <a:lnSpc>
                <a:spcPct val="90000"/>
              </a:lnSpc>
              <a:spcBef>
                <a:spcPts val="227"/>
              </a:spcBef>
              <a:buClr>
                <a:schemeClr val="tx1"/>
              </a:buClr>
              <a:buSzPct val="100000"/>
              <a:buFont typeface="Arial Narrow"/>
              <a:buChar char="-"/>
            </a:pPr>
            <a:r>
              <a:rPr lang="en-US" sz="1733" b="0" dirty="0">
                <a:latin typeface="+mn-lt"/>
                <a:cs typeface="+mn-cs"/>
                <a:sym typeface="+mn-lt"/>
              </a:rPr>
              <a:t>Level 3</a:t>
            </a:r>
          </a:p>
        </p:txBody>
      </p:sp>
      <p:sp>
        <p:nvSpPr>
          <p:cNvPr id="51" name="Subtitle" hidden="1"/>
          <p:cNvSpPr txBox="1">
            <a:spLocks/>
          </p:cNvSpPr>
          <p:nvPr/>
        </p:nvSpPr>
        <p:spPr>
          <a:xfrm>
            <a:off x="908308" y="1710003"/>
            <a:ext cx="10505832" cy="33227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90000"/>
              </a:lnSpc>
              <a:buClr>
                <a:schemeClr val="tx1"/>
              </a:buClr>
              <a:buSzPct val="100000"/>
            </a:pPr>
            <a:r>
              <a:rPr lang="en-US" sz="2399" b="0" dirty="0">
                <a:solidFill>
                  <a:schemeClr val="tx2"/>
                </a:solidFill>
                <a:latin typeface="+mn-lt"/>
                <a:cs typeface="+mn-cs"/>
                <a:sym typeface="+mn-lt"/>
              </a:rPr>
              <a:t>Subtitle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623892" y="1439555"/>
            <a:ext cx="10505832" cy="1183914"/>
          </a:xfrm>
          <a:prstGeom prst="rect">
            <a:avLst/>
          </a:prstGeom>
          <a:ln w="12700">
            <a:miter lim="400000"/>
          </a:ln>
        </p:spPr>
        <p:txBody>
          <a:bodyPr lIns="0" tIns="0" rIns="0" bIns="0">
            <a:spAutoFit/>
          </a:bodyPr>
          <a:lstStyle/>
          <a:p>
            <a:pPr lvl="0" fontAlgn="auto" hangingPunct="0">
              <a:lnSpc>
                <a:spcPct val="80000"/>
              </a:lnSpc>
              <a:spcAft>
                <a:spcPts val="0"/>
              </a:spcAft>
            </a:pPr>
            <a:r>
              <a:rPr lang="en-US" dirty="0"/>
              <a:t>Click to edit Master text styles – Level 0</a:t>
            </a:r>
          </a:p>
          <a:p>
            <a:pPr marL="519383" lvl="1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Level 1</a:t>
            </a:r>
          </a:p>
          <a:p>
            <a:pPr marL="1038769" lvl="2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Level 2</a:t>
            </a:r>
          </a:p>
          <a:p>
            <a:pPr marL="1558152" lvl="3" fontAlgn="base">
              <a:spcBef>
                <a:spcPct val="0"/>
              </a:spcBef>
              <a:spcAft>
                <a:spcPct val="0"/>
              </a:spcAft>
            </a:pPr>
            <a:r>
              <a:rPr lang="en-US" dirty="0"/>
              <a:t>Level 3</a:t>
            </a:r>
          </a:p>
        </p:txBody>
      </p:sp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623892" y="1108946"/>
            <a:ext cx="10505832" cy="336311"/>
          </a:xfrm>
          <a:prstGeom prst="rect">
            <a:avLst/>
          </a:prstGeom>
          <a:ln w="12700">
            <a:miter lim="400000"/>
          </a:ln>
        </p:spPr>
        <p:txBody>
          <a:bodyPr lIns="0" tIns="0" rIns="0" bIns="0">
            <a:spAutoFit/>
          </a:bodyPr>
          <a:lstStyle/>
          <a:p>
            <a:pPr lvl="0" fontAlgn="auto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noProof="0" dirty="0"/>
              <a:t>Click to edit Master title style</a:t>
            </a:r>
          </a:p>
        </p:txBody>
      </p:sp>
      <p:grpSp>
        <p:nvGrpSpPr>
          <p:cNvPr id="19" name="Drawing grid" hidden="1"/>
          <p:cNvGrpSpPr/>
          <p:nvPr/>
        </p:nvGrpSpPr>
        <p:grpSpPr>
          <a:xfrm>
            <a:off x="0" y="0"/>
            <a:ext cx="12192000" cy="6858000"/>
            <a:chOff x="0" y="0"/>
            <a:chExt cx="9906000" cy="6858000"/>
          </a:xfrm>
        </p:grpSpPr>
        <p:cxnSp>
          <p:nvCxnSpPr>
            <p:cNvPr id="66" name="!!!Do not delete!!!" hidden="1"/>
            <p:cNvCxnSpPr/>
            <p:nvPr userDrawn="1"/>
          </p:nvCxnSpPr>
          <p:spPr>
            <a:xfrm>
              <a:off x="0" y="309409"/>
              <a:ext cx="92694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!!!Do not delete!!!" hidden="1"/>
            <p:cNvCxnSpPr/>
            <p:nvPr/>
          </p:nvCxnSpPr>
          <p:spPr>
            <a:xfrm>
              <a:off x="738000" y="0"/>
              <a:ext cx="0" cy="685800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!!!Do not delete!!!" hidden="1"/>
            <p:cNvCxnSpPr/>
            <p:nvPr/>
          </p:nvCxnSpPr>
          <p:spPr>
            <a:xfrm>
              <a:off x="1083600" y="0"/>
              <a:ext cx="0" cy="496568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!!!Do not delete!!!" hidden="1"/>
            <p:cNvCxnSpPr/>
            <p:nvPr/>
          </p:nvCxnSpPr>
          <p:spPr>
            <a:xfrm>
              <a:off x="0" y="222248"/>
              <a:ext cx="9906000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!!!Do not delete!!!" hidden="1"/>
            <p:cNvCxnSpPr/>
            <p:nvPr/>
          </p:nvCxnSpPr>
          <p:spPr>
            <a:xfrm>
              <a:off x="0" y="666750"/>
              <a:ext cx="9906000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!!!Do not delete!!!" hidden="1"/>
            <p:cNvCxnSpPr/>
            <p:nvPr/>
          </p:nvCxnSpPr>
          <p:spPr>
            <a:xfrm>
              <a:off x="0" y="6418800"/>
              <a:ext cx="9906000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!!!Do not delete!!!" hidden="1"/>
            <p:cNvCxnSpPr/>
            <p:nvPr/>
          </p:nvCxnSpPr>
          <p:spPr>
            <a:xfrm>
              <a:off x="0" y="1710000"/>
              <a:ext cx="9906000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!!!Do not delete!!!" hidden="1"/>
            <p:cNvCxnSpPr/>
            <p:nvPr/>
          </p:nvCxnSpPr>
          <p:spPr>
            <a:xfrm>
              <a:off x="548711" y="2178000"/>
              <a:ext cx="8939211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9" hidden="1"/>
            <p:cNvGrpSpPr/>
            <p:nvPr userDrawn="1"/>
          </p:nvGrpSpPr>
          <p:grpSpPr>
            <a:xfrm>
              <a:off x="8495656" y="1"/>
              <a:ext cx="236220" cy="670560"/>
              <a:chOff x="8321029" y="0"/>
              <a:chExt cx="236220" cy="719149"/>
            </a:xfrm>
          </p:grpSpPr>
          <p:cxnSp>
            <p:nvCxnSpPr>
              <p:cNvPr id="68" name="!!!Do not delete!!!" hidden="1"/>
              <p:cNvCxnSpPr>
                <a:cxnSpLocks/>
              </p:cNvCxnSpPr>
              <p:nvPr userDrawn="1"/>
            </p:nvCxnSpPr>
            <p:spPr>
              <a:xfrm>
                <a:off x="8321029" y="0"/>
                <a:ext cx="0" cy="719149"/>
              </a:xfrm>
              <a:prstGeom prst="line">
                <a:avLst/>
              </a:prstGeom>
              <a:ln w="3175" cap="sq">
                <a:solidFill>
                  <a:schemeClr val="accent2"/>
                </a:solidFill>
                <a:prstDash val="sysDot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!!!Do not delete!!!" hidden="1"/>
              <p:cNvCxnSpPr>
                <a:cxnSpLocks/>
              </p:cNvCxnSpPr>
              <p:nvPr userDrawn="1"/>
            </p:nvCxnSpPr>
            <p:spPr>
              <a:xfrm>
                <a:off x="8557249" y="0"/>
                <a:ext cx="0" cy="719149"/>
              </a:xfrm>
              <a:prstGeom prst="line">
                <a:avLst/>
              </a:prstGeom>
              <a:ln w="3175" cap="sq">
                <a:solidFill>
                  <a:schemeClr val="accent2"/>
                </a:solidFill>
                <a:prstDash val="sysDot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7" name="!!!Do not delete!!!" hidden="1"/>
            <p:cNvCxnSpPr/>
            <p:nvPr userDrawn="1"/>
          </p:nvCxnSpPr>
          <p:spPr>
            <a:xfrm>
              <a:off x="0" y="574673"/>
              <a:ext cx="92694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tangle 14" hidden="1"/>
            <p:cNvSpPr>
              <a:spLocks/>
            </p:cNvSpPr>
            <p:nvPr userDrawn="1"/>
          </p:nvSpPr>
          <p:spPr>
            <a:xfrm>
              <a:off x="736600" y="222248"/>
              <a:ext cx="274320" cy="274320"/>
            </a:xfrm>
            <a:prstGeom prst="rect">
              <a:avLst/>
            </a:prstGeom>
            <a:noFill/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2000" tIns="72000" rIns="72000" bIns="108000" rtlCol="0" anchor="t" anchorCtr="0">
              <a:noAutofit/>
            </a:bodyPr>
            <a:lstStyle/>
            <a:p>
              <a:pPr algn="l">
                <a:lnSpc>
                  <a:spcPct val="90000"/>
                </a:lnSpc>
                <a:spcBef>
                  <a:spcPts val="455"/>
                </a:spcBef>
              </a:pPr>
              <a:endParaRPr lang="en-US" sz="1733" b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938162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2" r:id="rId1"/>
    <p:sldLayoutId id="2147484163" r:id="rId2"/>
    <p:sldLayoutId id="2147484164" r:id="rId3"/>
    <p:sldLayoutId id="2147484165" r:id="rId4"/>
    <p:sldLayoutId id="2147484166" r:id="rId5"/>
    <p:sldLayoutId id="2147484167" r:id="rId6"/>
    <p:sldLayoutId id="2147484168" r:id="rId7"/>
    <p:sldLayoutId id="2147484169" r:id="rId8"/>
    <p:sldLayoutId id="2147484170" r:id="rId9"/>
    <p:sldLayoutId id="2147484171" r:id="rId10"/>
    <p:sldLayoutId id="2147484172" r:id="rId11"/>
    <p:sldLayoutId id="2147484173" r:id="rId12"/>
    <p:sldLayoutId id="2147484174" r:id="rId13"/>
    <p:sldLayoutId id="2147484175" r:id="rId14"/>
    <p:sldLayoutId id="2147484176" r:id="rId15"/>
    <p:sldLayoutId id="2147484177" r:id="rId16"/>
    <p:sldLayoutId id="2147484178" r:id="rId17"/>
    <p:sldLayoutId id="2147484179" r:id="rId18"/>
    <p:sldLayoutId id="2147484180" r:id="rId19"/>
    <p:sldLayoutId id="2147484181" r:id="rId20"/>
    <p:sldLayoutId id="2147484182" r:id="rId21"/>
    <p:sldLayoutId id="2147484183" r:id="rId22"/>
    <p:sldLayoutId id="2147484184" r:id="rId23"/>
    <p:sldLayoutId id="2147484185" r:id="rId24"/>
    <p:sldLayoutId id="2147484186" r:id="rId25"/>
  </p:sldLayoutIdLst>
  <p:hf hdr="0" dt="0"/>
  <p:txStyles>
    <p:titleStyle>
      <a:lvl1pPr algn="l" defTabSz="1038769" rtl="0" eaLnBrk="1" latinLnBrk="0" hangingPunct="1">
        <a:lnSpc>
          <a:spcPct val="90000"/>
        </a:lnSpc>
        <a:spcBef>
          <a:spcPct val="0"/>
        </a:spcBef>
        <a:buNone/>
        <a:defRPr lang="en-US" sz="2665" b="0" kern="0" baseline="0" noProof="0" dirty="0">
          <a:solidFill>
            <a:srgbClr val="FF9300"/>
          </a:solidFill>
          <a:latin typeface="Bebas Kai"/>
          <a:ea typeface="+mn-ea"/>
          <a:cs typeface="+mn-cs"/>
          <a:sym typeface="+mn-lt"/>
        </a:defRPr>
      </a:lvl1pPr>
    </p:titleStyle>
    <p:bodyStyle>
      <a:lvl1pPr marL="0" indent="0" algn="l" defTabSz="1038769" rtl="0" eaLnBrk="1" latinLnBrk="0" hangingPunct="1">
        <a:lnSpc>
          <a:spcPct val="90000"/>
        </a:lnSpc>
        <a:spcBef>
          <a:spcPts val="0"/>
        </a:spcBef>
        <a:buFont typeface="Arial Narrow" pitchFamily="34" charset="0"/>
        <a:buNone/>
        <a:defRPr lang="en-US" sz="4665" b="0" i="0" kern="0" baseline="0" dirty="0" smtClean="0">
          <a:solidFill>
            <a:srgbClr val="173E5B"/>
          </a:solidFill>
          <a:latin typeface="Bebas Kai"/>
          <a:ea typeface="+mn-ea"/>
          <a:cs typeface="+mn-cs"/>
          <a:sym typeface="+mn-lt"/>
        </a:defRPr>
      </a:lvl1pPr>
      <a:lvl2pPr marL="261737" indent="-261737" algn="l" defTabSz="1038769" rtl="0" eaLnBrk="1" latinLnBrk="0" hangingPunct="1">
        <a:lnSpc>
          <a:spcPct val="90000"/>
        </a:lnSpc>
        <a:spcBef>
          <a:spcPts val="1364"/>
        </a:spcBef>
        <a:buFont typeface="Arial Narrow" pitchFamily="34" charset="0"/>
        <a:buChar char="&gt;"/>
        <a:defRPr lang="en-US" sz="1467" b="1" kern="1200" dirty="0" smtClean="0">
          <a:solidFill>
            <a:schemeClr val="tx1"/>
          </a:solidFill>
          <a:latin typeface="Arial Narrow" charset="0"/>
          <a:ea typeface="+mn-ea"/>
          <a:cs typeface="+mn-cs"/>
          <a:sym typeface="+mn-lt"/>
        </a:defRPr>
      </a:lvl2pPr>
      <a:lvl3pPr marL="548012" indent="-265827" algn="l" defTabSz="1038769" rtl="0" eaLnBrk="1" latinLnBrk="0" hangingPunct="1">
        <a:lnSpc>
          <a:spcPct val="90000"/>
        </a:lnSpc>
        <a:spcBef>
          <a:spcPts val="455"/>
        </a:spcBef>
        <a:buFont typeface="Arial Narrow" pitchFamily="34" charset="0"/>
        <a:buChar char="–"/>
        <a:defRPr lang="en-US" sz="1467" b="1" kern="1200" dirty="0" smtClean="0">
          <a:solidFill>
            <a:schemeClr val="tx1"/>
          </a:solidFill>
          <a:latin typeface="Arial Narrow" charset="0"/>
          <a:ea typeface="+mn-ea"/>
          <a:cs typeface="+mn-cs"/>
          <a:sym typeface="+mn-lt"/>
        </a:defRPr>
      </a:lvl3pPr>
      <a:lvl4pPr marL="793389" indent="-229020" algn="l" defTabSz="1038769" rtl="0" eaLnBrk="1" latinLnBrk="0" hangingPunct="1">
        <a:lnSpc>
          <a:spcPct val="90000"/>
        </a:lnSpc>
        <a:spcBef>
          <a:spcPts val="227"/>
        </a:spcBef>
        <a:buFont typeface="Arial Narrow" pitchFamily="34" charset="0"/>
        <a:buChar char="-"/>
        <a:defRPr lang="en-US" sz="1467" b="1" kern="1200" dirty="0">
          <a:solidFill>
            <a:schemeClr val="tx1"/>
          </a:solidFill>
          <a:latin typeface="Arial Narrow" charset="0"/>
          <a:ea typeface="+mn-ea"/>
          <a:cs typeface="+mn-cs"/>
          <a:sym typeface="+mn-lt"/>
        </a:defRPr>
      </a:lvl4pPr>
      <a:lvl5pPr marL="793389" indent="0" algn="l" defTabSz="1038769" rtl="0" eaLnBrk="1" latinLnBrk="0" hangingPunct="1">
        <a:lnSpc>
          <a:spcPct val="93000"/>
        </a:lnSpc>
        <a:spcBef>
          <a:spcPts val="0"/>
        </a:spcBef>
        <a:buFont typeface="Arial Narrow" pitchFamily="34" charset="0"/>
        <a:buNone/>
        <a:defRPr sz="1867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2856613" indent="-259694" algn="l" defTabSz="1038769" rtl="0" eaLnBrk="1" latinLnBrk="0" hangingPunct="1">
        <a:spcBef>
          <a:spcPct val="20000"/>
        </a:spcBef>
        <a:buFont typeface="Arial Narrow" pitchFamily="34" charset="0"/>
        <a:buChar char="•"/>
        <a:defRPr sz="2265" kern="1200">
          <a:solidFill>
            <a:schemeClr val="tx1"/>
          </a:solidFill>
          <a:latin typeface="+mn-lt"/>
          <a:ea typeface="+mn-ea"/>
          <a:cs typeface="+mn-cs"/>
        </a:defRPr>
      </a:lvl6pPr>
      <a:lvl7pPr marL="3375997" indent="-259694" algn="l" defTabSz="1038769" rtl="0" eaLnBrk="1" latinLnBrk="0" hangingPunct="1">
        <a:spcBef>
          <a:spcPct val="20000"/>
        </a:spcBef>
        <a:buFont typeface="Arial Narrow" pitchFamily="34" charset="0"/>
        <a:buChar char="•"/>
        <a:defRPr sz="2265" kern="1200">
          <a:solidFill>
            <a:schemeClr val="tx1"/>
          </a:solidFill>
          <a:latin typeface="+mn-lt"/>
          <a:ea typeface="+mn-ea"/>
          <a:cs typeface="+mn-cs"/>
        </a:defRPr>
      </a:lvl7pPr>
      <a:lvl8pPr marL="3895381" indent="-259694" algn="l" defTabSz="1038769" rtl="0" eaLnBrk="1" latinLnBrk="0" hangingPunct="1">
        <a:spcBef>
          <a:spcPct val="20000"/>
        </a:spcBef>
        <a:buFont typeface="Arial Narrow" pitchFamily="34" charset="0"/>
        <a:buChar char="•"/>
        <a:defRPr sz="2265" kern="1200">
          <a:solidFill>
            <a:schemeClr val="tx1"/>
          </a:solidFill>
          <a:latin typeface="+mn-lt"/>
          <a:ea typeface="+mn-ea"/>
          <a:cs typeface="+mn-cs"/>
        </a:defRPr>
      </a:lvl8pPr>
      <a:lvl9pPr marL="4414764" indent="-259694" algn="l" defTabSz="1038769" rtl="0" eaLnBrk="1" latinLnBrk="0" hangingPunct="1">
        <a:spcBef>
          <a:spcPct val="20000"/>
        </a:spcBef>
        <a:buFont typeface="Arial Narrow" pitchFamily="34" charset="0"/>
        <a:buChar char="•"/>
        <a:defRPr sz="22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387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83" algn="l" defTabSz="10387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769" algn="l" defTabSz="10387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152" algn="l" defTabSz="10387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536" algn="l" defTabSz="10387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920" algn="l" defTabSz="10387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306" algn="l" defTabSz="10387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690" algn="l" defTabSz="10387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073" algn="l" defTabSz="10387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39350" y="319088"/>
            <a:ext cx="7392821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  <a:endParaRPr lang="en-GB" altLang="en-US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27382" y="1753973"/>
            <a:ext cx="11137237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 dirty="0"/>
          </a:p>
          <a:p>
            <a:pPr lvl="0"/>
            <a:endParaRPr lang="en-US" alt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27382" y="6453336"/>
            <a:ext cx="11137237" cy="0"/>
          </a:xfrm>
          <a:prstGeom prst="line">
            <a:avLst/>
          </a:prstGeom>
          <a:ln w="19050">
            <a:solidFill>
              <a:srgbClr val="232C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456086" y="6453336"/>
            <a:ext cx="113297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>
                <a:solidFill>
                  <a:srgbClr val="232C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o.co.uk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en-GB" sz="1200" dirty="0"/>
              <a:t>                                                                            	</a:t>
            </a:r>
            <a:r>
              <a:rPr lang="en-GB" sz="1200" b="1" dirty="0">
                <a:solidFill>
                  <a:srgbClr val="00AC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co.co.uk/cloud</a:t>
            </a:r>
            <a:r>
              <a:rPr lang="en-GB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200" baseline="0" dirty="0"/>
              <a:t>                                                                             	                     </a:t>
            </a:r>
            <a:r>
              <a:rPr lang="en-GB" sz="1200" b="1" baseline="0" dirty="0">
                <a:solidFill>
                  <a:srgbClr val="9651A0"/>
                </a:solidFill>
              </a:rPr>
              <a:t>	  </a:t>
            </a:r>
            <a:r>
              <a:rPr lang="en-GB" sz="1200" b="1" baseline="0" dirty="0">
                <a:solidFill>
                  <a:srgbClr val="9651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fsltd.co.uk</a:t>
            </a:r>
            <a:endParaRPr lang="en-GB" sz="1400" b="1" dirty="0">
              <a:solidFill>
                <a:srgbClr val="9651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3735" y="405788"/>
            <a:ext cx="3360884" cy="96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457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9" r:id="rId1"/>
    <p:sldLayoutId id="2147484280" r:id="rId2"/>
    <p:sldLayoutId id="2147484281" r:id="rId3"/>
    <p:sldLayoutId id="2147484282" r:id="rId4"/>
    <p:sldLayoutId id="2147484283" r:id="rId5"/>
    <p:sldLayoutId id="2147484284" r:id="rId6"/>
    <p:sldLayoutId id="2147484285" r:id="rId7"/>
    <p:sldLayoutId id="2147484286" r:id="rId8"/>
    <p:sldLayoutId id="2147484287" r:id="rId9"/>
    <p:sldLayoutId id="2147484288" r:id="rId10"/>
    <p:sldLayoutId id="2147484289" r:id="rId11"/>
    <p:sldLayoutId id="2147484290" r:id="rId12"/>
    <p:sldLayoutId id="2147484291" r:id="rId13"/>
    <p:sldLayoutId id="2147484292" r:id="rId14"/>
    <p:sldLayoutId id="2147484293" r:id="rId15"/>
    <p:sldLayoutId id="2147484294" r:id="rId16"/>
    <p:sldLayoutId id="2147484295" r:id="rId17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733" kern="1200">
          <a:solidFill>
            <a:srgbClr val="00ACC8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17375E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17375E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17375E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>
          <a:solidFill>
            <a:srgbClr val="17375E"/>
          </a:solidFill>
          <a:latin typeface="Arial" charset="0"/>
          <a:cs typeface="Arial" charset="0"/>
        </a:defRPr>
      </a:lvl5pPr>
      <a:lvl6pPr marL="457189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377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566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754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20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189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566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754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9.JPG"/><Relationship Id="rId7" Type="http://schemas.openxmlformats.org/officeDocument/2006/relationships/image" Target="../media/image42.png"/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1.png"/><Relationship Id="rId5" Type="http://schemas.openxmlformats.org/officeDocument/2006/relationships/image" Target="../media/image37.jpeg"/><Relationship Id="rId4" Type="http://schemas.openxmlformats.org/officeDocument/2006/relationships/image" Target="../media/image40.jpg"/><Relationship Id="rId9" Type="http://schemas.openxmlformats.org/officeDocument/2006/relationships/image" Target="../media/image43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image" Target="../media/image44.png"/><Relationship Id="rId7" Type="http://schemas.openxmlformats.org/officeDocument/2006/relationships/image" Target="../media/image48.jpeg"/><Relationship Id="rId12" Type="http://schemas.openxmlformats.org/officeDocument/2006/relationships/image" Target="../media/image53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7.jpeg"/><Relationship Id="rId11" Type="http://schemas.openxmlformats.org/officeDocument/2006/relationships/image" Target="../media/image52.jpeg"/><Relationship Id="rId5" Type="http://schemas.openxmlformats.org/officeDocument/2006/relationships/image" Target="../media/image46.jpeg"/><Relationship Id="rId10" Type="http://schemas.openxmlformats.org/officeDocument/2006/relationships/image" Target="../media/image51.jpe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www.edie.net/news/9/UK-s-overseas-energy-aid-spending-on-fossil-fuels-spirals-to--4-6bn/" TargetMode="External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378D3FE-FB84-4672-821B-0661938256B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9911" y="938643"/>
            <a:ext cx="5048632" cy="108775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FBDED99-09EE-4623-A5CA-27FF92A9BA1A}"/>
              </a:ext>
            </a:extLst>
          </p:cNvPr>
          <p:cNvSpPr/>
          <p:nvPr/>
        </p:nvSpPr>
        <p:spPr>
          <a:xfrm>
            <a:off x="6149991" y="3805440"/>
            <a:ext cx="3847863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i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</a:p>
          <a:p>
            <a:pPr algn="ctr"/>
            <a:endParaRPr lang="en-US" i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  <a:p>
            <a:pPr algn="ctr"/>
            <a:r>
              <a:rPr lang="en-US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Robert Hokin</a:t>
            </a:r>
          </a:p>
          <a:p>
            <a:pPr algn="ctr"/>
            <a:r>
              <a:rPr lang="en-US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Managing Partner</a:t>
            </a:r>
          </a:p>
          <a:p>
            <a:pPr algn="ctr"/>
            <a:endParaRPr lang="en-GB" sz="1400" i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  <a:p>
            <a:pPr algn="ctr"/>
            <a:r>
              <a:rPr lang="en-GB" sz="1400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robert.hokin@greenbackers.com</a:t>
            </a:r>
            <a:endParaRPr lang="en-US" sz="1400" i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25" name="Picture Placeholder 35">
            <a:extLst>
              <a:ext uri="{FF2B5EF4-FFF2-40B4-BE49-F238E27FC236}">
                <a16:creationId xmlns:a16="http://schemas.microsoft.com/office/drawing/2014/main" id="{FC2C3F48-F88D-41FD-ADD5-4BDBCC34DDD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06" y="-19774"/>
            <a:ext cx="4021381" cy="6891748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19615A1-F7DF-4986-9C4D-3B7999196EAC}"/>
              </a:ext>
            </a:extLst>
          </p:cNvPr>
          <p:cNvSpPr txBox="1">
            <a:spLocks/>
          </p:cNvSpPr>
          <p:nvPr/>
        </p:nvSpPr>
        <p:spPr>
          <a:xfrm>
            <a:off x="6335823" y="2565815"/>
            <a:ext cx="3546611" cy="1838321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2000" dirty="0">
                <a:solidFill>
                  <a:schemeClr val="accent2"/>
                </a:solidFill>
              </a:rPr>
              <a:t>A future generation mix dominated by renewables:</a:t>
            </a:r>
            <a:r>
              <a:rPr lang="en-GB" sz="1800" dirty="0">
                <a:solidFill>
                  <a:schemeClr val="accent2"/>
                </a:solidFill>
              </a:rPr>
              <a:t> </a:t>
            </a:r>
          </a:p>
          <a:p>
            <a:pPr marL="0" indent="0" algn="ctr">
              <a:buNone/>
            </a:pPr>
            <a:r>
              <a:rPr lang="en-GB" dirty="0">
                <a:solidFill>
                  <a:schemeClr val="tx2"/>
                </a:solidFill>
              </a:rPr>
              <a:t>How will we get there?  </a:t>
            </a:r>
            <a:endParaRPr lang="en-GB" sz="3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062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Rectangle 73">
            <a:extLst>
              <a:ext uri="{FF2B5EF4-FFF2-40B4-BE49-F238E27FC236}">
                <a16:creationId xmlns:a16="http://schemas.microsoft.com/office/drawing/2014/main" id="{6C021648-E167-439B-A284-D7C2D92DD666}"/>
              </a:ext>
            </a:extLst>
          </p:cNvPr>
          <p:cNvSpPr/>
          <p:nvPr/>
        </p:nvSpPr>
        <p:spPr>
          <a:xfrm>
            <a:off x="4602826" y="2698110"/>
            <a:ext cx="7314943" cy="2293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en-US" sz="3600" i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Greenbackers: </a:t>
            </a:r>
          </a:p>
          <a:p>
            <a:pPr>
              <a:lnSpc>
                <a:spcPct val="120000"/>
              </a:lnSpc>
            </a:pPr>
            <a:r>
              <a:rPr lang="en-US" sz="3600" i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Specialists in climate, cleantech &amp; circular economy capital</a:t>
            </a:r>
          </a:p>
          <a:p>
            <a:pPr>
              <a:lnSpc>
                <a:spcPct val="120000"/>
              </a:lnSpc>
            </a:pP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  <a:cs typeface="Segoe UI Light" panose="020B0502040204020203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8132934-7CCE-44A4-A111-FA89FC36F80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1500" y="297033"/>
            <a:ext cx="3086269" cy="664951"/>
          </a:xfrm>
          <a:prstGeom prst="rect">
            <a:avLst/>
          </a:prstGeom>
        </p:spPr>
      </p:pic>
      <p:pic>
        <p:nvPicPr>
          <p:cNvPr id="12" name="Picture Placeholder 35">
            <a:extLst>
              <a:ext uri="{FF2B5EF4-FFF2-40B4-BE49-F238E27FC236}">
                <a16:creationId xmlns:a16="http://schemas.microsoft.com/office/drawing/2014/main" id="{C0A36110-08B9-4545-9D98-70C15555241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06" y="-19774"/>
            <a:ext cx="4021381" cy="6891748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1256793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Placeholder 35">
            <a:extLst>
              <a:ext uri="{FF2B5EF4-FFF2-40B4-BE49-F238E27FC236}">
                <a16:creationId xmlns:a16="http://schemas.microsoft.com/office/drawing/2014/main" id="{AA7EE63E-D4CD-422B-AC66-093329BFEA4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06" y="-19774"/>
            <a:ext cx="4021381" cy="6891748"/>
          </a:xfr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63E24C8A-9767-487C-9B26-F96584E1A8B8}"/>
              </a:ext>
            </a:extLst>
          </p:cNvPr>
          <p:cNvSpPr txBox="1"/>
          <p:nvPr/>
        </p:nvSpPr>
        <p:spPr>
          <a:xfrm>
            <a:off x="3955552" y="2563863"/>
            <a:ext cx="331772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70000"/>
              </a:lnSpc>
            </a:pPr>
            <a:r>
              <a:rPr lang="en-US" sz="3600" spc="-188" dirty="0">
                <a:solidFill>
                  <a:schemeClr val="bg1">
                    <a:lumMod val="50000"/>
                  </a:schemeClr>
                </a:solidFill>
                <a:latin typeface="+mj-lt"/>
                <a:cs typeface="Poppins SemiBold" panose="00000700000000000000" pitchFamily="2" charset="0"/>
              </a:rPr>
              <a:t>Our Mission</a:t>
            </a:r>
          </a:p>
          <a:p>
            <a:pPr>
              <a:lnSpc>
                <a:spcPct val="70000"/>
              </a:lnSpc>
            </a:pPr>
            <a:endParaRPr lang="en-US" sz="4400" spc="-188" dirty="0">
              <a:solidFill>
                <a:schemeClr val="bg1">
                  <a:lumMod val="50000"/>
                </a:schemeClr>
              </a:solidFill>
              <a:latin typeface="+mj-lt"/>
              <a:cs typeface="Poppins SemiBold" panose="00000700000000000000" pitchFamily="2" charset="0"/>
            </a:endParaRPr>
          </a:p>
          <a:p>
            <a:pPr algn="ctr"/>
            <a:r>
              <a:rPr lang="en-US" sz="2800" spc="-188" dirty="0" err="1">
                <a:solidFill>
                  <a:schemeClr val="bg1">
                    <a:lumMod val="50000"/>
                  </a:schemeClr>
                </a:solidFill>
                <a:latin typeface="+mj-lt"/>
                <a:cs typeface="Poppins SemiBold" panose="00000700000000000000" pitchFamily="2" charset="0"/>
              </a:rPr>
              <a:t>Mobilising</a:t>
            </a:r>
            <a:r>
              <a:rPr lang="en-US" sz="2800" spc="-188" dirty="0">
                <a:solidFill>
                  <a:schemeClr val="bg1">
                    <a:lumMod val="50000"/>
                  </a:schemeClr>
                </a:solidFill>
                <a:latin typeface="+mj-lt"/>
                <a:cs typeface="Poppins SemiBold" panose="00000700000000000000" pitchFamily="2" charset="0"/>
              </a:rPr>
              <a:t> capital for climate business growth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6C021648-E167-439B-A284-D7C2D92DD666}"/>
              </a:ext>
            </a:extLst>
          </p:cNvPr>
          <p:cNvSpPr/>
          <p:nvPr/>
        </p:nvSpPr>
        <p:spPr>
          <a:xfrm>
            <a:off x="7628357" y="1670697"/>
            <a:ext cx="4563644" cy="2991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endParaRPr lang="en-US" sz="1200" dirty="0">
              <a:solidFill>
                <a:schemeClr val="bg1">
                  <a:lumMod val="50000"/>
                </a:schemeClr>
              </a:solidFill>
              <a:latin typeface="+mj-lt"/>
              <a:cs typeface="Segoe UI Light" panose="020B0502040204020203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BC7CC36-2879-46B1-9E35-2B6272908A30}"/>
              </a:ext>
            </a:extLst>
          </p:cNvPr>
          <p:cNvSpPr/>
          <p:nvPr/>
        </p:nvSpPr>
        <p:spPr>
          <a:xfrm>
            <a:off x="7678766" y="1948825"/>
            <a:ext cx="451323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i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Managed fundraises &amp; </a:t>
            </a:r>
          </a:p>
          <a:p>
            <a:r>
              <a:rPr lang="en-US" sz="2800" i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private placement campaigns</a:t>
            </a:r>
          </a:p>
          <a:p>
            <a:r>
              <a:rPr lang="en-US" sz="2800" i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(Series A – C)</a:t>
            </a:r>
          </a:p>
          <a:p>
            <a:endParaRPr lang="en-US" sz="2800" i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r>
              <a:rPr lang="en-US" sz="2800" i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Investment Pitch (10 -&gt; 200)</a:t>
            </a:r>
          </a:p>
          <a:p>
            <a:r>
              <a:rPr lang="en-US" sz="2800" i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(Seed &amp; Series A)</a:t>
            </a:r>
          </a:p>
          <a:p>
            <a:endParaRPr lang="en-US" sz="2800" i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  <a:p>
            <a:r>
              <a:rPr lang="en-US" sz="2800" i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Entrepreneur coaching </a:t>
            </a:r>
          </a:p>
          <a:p>
            <a:r>
              <a:rPr lang="en-US" sz="2800" i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for investment readines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04E15D7-061C-4AF7-88A1-EC4097CFE03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1500" y="297033"/>
            <a:ext cx="3086269" cy="664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096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22C91749-D0AA-4CDB-A4B1-C90F1213DE5C}"/>
              </a:ext>
            </a:extLst>
          </p:cNvPr>
          <p:cNvGrpSpPr/>
          <p:nvPr/>
        </p:nvGrpSpPr>
        <p:grpSpPr>
          <a:xfrm>
            <a:off x="5947836" y="1490679"/>
            <a:ext cx="2729237" cy="877495"/>
            <a:chOff x="4449387" y="4706053"/>
            <a:chExt cx="2161581" cy="630005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74E952C0-08DB-4078-A6B4-EEF858353E9C}"/>
                </a:ext>
              </a:extLst>
            </p:cNvPr>
            <p:cNvSpPr/>
            <p:nvPr/>
          </p:nvSpPr>
          <p:spPr>
            <a:xfrm>
              <a:off x="4658797" y="5021174"/>
              <a:ext cx="1952171" cy="3148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GB" sz="12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Partner</a:t>
              </a:r>
            </a:p>
            <a:p>
              <a:r>
                <a:rPr lang="en-GB" sz="105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Prev. BP Ventures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98C52E7D-E50E-41E6-806B-7629B500F778}"/>
                </a:ext>
              </a:extLst>
            </p:cNvPr>
            <p:cNvSpPr/>
            <p:nvPr/>
          </p:nvSpPr>
          <p:spPr>
            <a:xfrm>
              <a:off x="4449387" y="4706053"/>
              <a:ext cx="1417882" cy="2651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dirty="0">
                  <a:solidFill>
                    <a:schemeClr val="accent1">
                      <a:lumMod val="75000"/>
                    </a:schemeClr>
                  </a:solidFill>
                  <a:latin typeface="+mj-lt"/>
                  <a:cs typeface="Segoe UI" panose="020B0502040204020203" pitchFamily="34" charset="0"/>
                </a:rPr>
                <a:t>    </a:t>
              </a:r>
              <a:r>
                <a:rPr lang="en-GB" b="1" dirty="0">
                  <a:solidFill>
                    <a:schemeClr val="accent1">
                      <a:lumMod val="75000"/>
                    </a:schemeClr>
                  </a:solidFill>
                  <a:latin typeface="+mj-lt"/>
                </a:rPr>
                <a:t>John Steedman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5C0C757-AB57-4857-89E8-1B7D88E3E589}"/>
              </a:ext>
            </a:extLst>
          </p:cNvPr>
          <p:cNvGrpSpPr/>
          <p:nvPr/>
        </p:nvGrpSpPr>
        <p:grpSpPr>
          <a:xfrm>
            <a:off x="6143056" y="3418119"/>
            <a:ext cx="2464833" cy="933792"/>
            <a:chOff x="4449387" y="4706053"/>
            <a:chExt cx="1952171" cy="670424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9FE1F6F-D4D2-4881-BDE8-D32CC286838D}"/>
                </a:ext>
              </a:extLst>
            </p:cNvPr>
            <p:cNvSpPr/>
            <p:nvPr/>
          </p:nvSpPr>
          <p:spPr>
            <a:xfrm>
              <a:off x="4449387" y="5021174"/>
              <a:ext cx="1952171" cy="3553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Segoe UI Light" panose="020B0502040204020203" pitchFamily="34" charset="0"/>
                </a:rPr>
                <a:t>Senior Associate</a:t>
              </a:r>
            </a:p>
            <a:p>
              <a:pPr>
                <a:lnSpc>
                  <a:spcPct val="120000"/>
                </a:lnSpc>
              </a:pP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  <a:cs typeface="Segoe UI Light" panose="020B0502040204020203" pitchFamily="34" charset="0"/>
                </a:rPr>
                <a:t>Prev. General Electric</a:t>
              </a: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537AA41-9CD6-4A29-87D6-A6B945447D26}"/>
                </a:ext>
              </a:extLst>
            </p:cNvPr>
            <p:cNvSpPr/>
            <p:nvPr/>
          </p:nvSpPr>
          <p:spPr>
            <a:xfrm>
              <a:off x="4449387" y="4706053"/>
              <a:ext cx="844788" cy="2651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IN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cs typeface="Segoe UI" panose="020B0502040204020203" pitchFamily="34" charset="0"/>
                </a:rPr>
                <a:t>Tony Gale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C2A30F8-DE96-477D-8182-DC9F49123AA1}"/>
              </a:ext>
            </a:extLst>
          </p:cNvPr>
          <p:cNvGrpSpPr/>
          <p:nvPr/>
        </p:nvGrpSpPr>
        <p:grpSpPr>
          <a:xfrm>
            <a:off x="9835680" y="1479663"/>
            <a:ext cx="2464833" cy="933791"/>
            <a:chOff x="4449387" y="4706053"/>
            <a:chExt cx="1952171" cy="670423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A5F3C801-AF6C-4969-A911-DAA937418330}"/>
                </a:ext>
              </a:extLst>
            </p:cNvPr>
            <p:cNvSpPr/>
            <p:nvPr/>
          </p:nvSpPr>
          <p:spPr>
            <a:xfrm>
              <a:off x="4449387" y="5021174"/>
              <a:ext cx="1952171" cy="3553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Segoe UI Light" panose="020B0502040204020203" pitchFamily="34" charset="0"/>
                </a:rPr>
                <a:t>Partner</a:t>
              </a:r>
            </a:p>
            <a:p>
              <a:pPr>
                <a:lnSpc>
                  <a:spcPct val="120000"/>
                </a:lnSpc>
              </a:pP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Segoe UI Light" panose="020B0502040204020203" pitchFamily="34" charset="0"/>
                </a:rPr>
                <a:t>Prev. Scottish Investment Bank</a:t>
              </a: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6DBE01F1-A816-4D86-BA1C-CD4C798995BD}"/>
                </a:ext>
              </a:extLst>
            </p:cNvPr>
            <p:cNvSpPr/>
            <p:nvPr/>
          </p:nvSpPr>
          <p:spPr>
            <a:xfrm>
              <a:off x="4449387" y="4706053"/>
              <a:ext cx="1160866" cy="2651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IN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cs typeface="Segoe UI" panose="020B0502040204020203" pitchFamily="34" charset="0"/>
                </a:rPr>
                <a:t>Andrew Smith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5B94650-BF8E-4382-B9FD-7149F8D6FD76}"/>
              </a:ext>
            </a:extLst>
          </p:cNvPr>
          <p:cNvGrpSpPr/>
          <p:nvPr/>
        </p:nvGrpSpPr>
        <p:grpSpPr>
          <a:xfrm>
            <a:off x="9823791" y="3242722"/>
            <a:ext cx="2464833" cy="933794"/>
            <a:chOff x="4449387" y="4706052"/>
            <a:chExt cx="1952171" cy="670425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5A4D7F4-610F-48B8-93FE-DE1C3EA3A324}"/>
                </a:ext>
              </a:extLst>
            </p:cNvPr>
            <p:cNvSpPr/>
            <p:nvPr/>
          </p:nvSpPr>
          <p:spPr>
            <a:xfrm>
              <a:off x="4449387" y="5021174"/>
              <a:ext cx="1952171" cy="3553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Segoe UI Light" panose="020B0502040204020203" pitchFamily="34" charset="0"/>
                </a:rPr>
                <a:t>Founder &amp; Managing Partner</a:t>
              </a:r>
            </a:p>
            <a:p>
              <a:pPr>
                <a:lnSpc>
                  <a:spcPct val="120000"/>
                </a:lnSpc>
              </a:pP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  <a:cs typeface="Segoe UI Light" panose="020B0502040204020203" pitchFamily="34" charset="0"/>
                </a:rPr>
                <a:t>Prev. ABB,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  <a:cs typeface="Segoe UI Light" panose="020B0502040204020203" pitchFamily="34" charset="0"/>
                </a:rPr>
                <a:t>Worldcom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  <a:cs typeface="Segoe UI Light" panose="020B0502040204020203" pitchFamily="34" charset="0"/>
                </a:rPr>
                <a:t>, GEC Marconi </a:t>
              </a: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07D0320-FA16-49FF-977C-78CA8E010CC3}"/>
                </a:ext>
              </a:extLst>
            </p:cNvPr>
            <p:cNvSpPr/>
            <p:nvPr/>
          </p:nvSpPr>
          <p:spPr>
            <a:xfrm>
              <a:off x="4449387" y="4706052"/>
              <a:ext cx="1109676" cy="2651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IN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cs typeface="Segoe UI" panose="020B0502040204020203" pitchFamily="34" charset="0"/>
                </a:rPr>
                <a:t>Robert Hokin</a:t>
              </a:r>
            </a:p>
          </p:txBody>
        </p:sp>
      </p:grpSp>
      <p:pic>
        <p:nvPicPr>
          <p:cNvPr id="46" name="Picture 8">
            <a:extLst>
              <a:ext uri="{FF2B5EF4-FFF2-40B4-BE49-F238E27FC236}">
                <a16:creationId xmlns:a16="http://schemas.microsoft.com/office/drawing/2014/main" id="{14FB53D3-8E8B-41CD-A8B5-7D1C0469BDB7}"/>
              </a:ext>
            </a:extLst>
          </p:cNvPr>
          <p:cNvPicPr>
            <a:picLocks noGrp="1" noChangeAspect="1" noChangeArrowheads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05792" y="3213049"/>
            <a:ext cx="1369608" cy="1366824"/>
          </a:xfrm>
        </p:spPr>
      </p:pic>
      <p:pic>
        <p:nvPicPr>
          <p:cNvPr id="52" name="Picture 4">
            <a:extLst>
              <a:ext uri="{FF2B5EF4-FFF2-40B4-BE49-F238E27FC236}">
                <a16:creationId xmlns:a16="http://schemas.microsoft.com/office/drawing/2014/main" id="{FC7D4662-49B5-4E31-A24D-93D7166DC4D6}"/>
              </a:ext>
            </a:extLst>
          </p:cNvPr>
          <p:cNvPicPr>
            <a:picLocks noGrp="1" noChangeAspect="1" noChangeArrowheads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29283" y="1460818"/>
            <a:ext cx="1314431" cy="1314431"/>
          </a:xfrm>
        </p:spPr>
      </p:pic>
      <p:pic>
        <p:nvPicPr>
          <p:cNvPr id="45" name="Picture 6">
            <a:extLst>
              <a:ext uri="{FF2B5EF4-FFF2-40B4-BE49-F238E27FC236}">
                <a16:creationId xmlns:a16="http://schemas.microsoft.com/office/drawing/2014/main" id="{5D583386-A9B0-411F-8953-409A18D56D33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19700" y="1412640"/>
            <a:ext cx="1268083" cy="1381681"/>
          </a:xfr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A2FE61D5-F22B-40FB-863E-A0AAE7A44B07}"/>
              </a:ext>
            </a:extLst>
          </p:cNvPr>
          <p:cNvSpPr txBox="1"/>
          <p:nvPr/>
        </p:nvSpPr>
        <p:spPr>
          <a:xfrm>
            <a:off x="4376902" y="561147"/>
            <a:ext cx="2893548" cy="596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US" sz="4400" spc="-188" dirty="0">
                <a:solidFill>
                  <a:schemeClr val="bg1">
                    <a:lumMod val="50000"/>
                  </a:schemeClr>
                </a:solidFill>
                <a:latin typeface="+mj-lt"/>
                <a:cs typeface="Poppins Light" panose="00000400000000000000" pitchFamily="2" charset="0"/>
              </a:rPr>
              <a:t>Our Team</a:t>
            </a:r>
          </a:p>
        </p:txBody>
      </p:sp>
      <p:pic>
        <p:nvPicPr>
          <p:cNvPr id="3" name="Picture Placeholder 35">
            <a:extLst>
              <a:ext uri="{FF2B5EF4-FFF2-40B4-BE49-F238E27FC236}">
                <a16:creationId xmlns:a16="http://schemas.microsoft.com/office/drawing/2014/main" id="{B324ADE0-02EC-4CD3-997C-94EC8253F68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06" y="-19774"/>
            <a:ext cx="4021381" cy="6891748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C87A43B1-226C-4C7B-8F73-FAA76A2DB337}"/>
              </a:ext>
            </a:extLst>
          </p:cNvPr>
          <p:cNvGrpSpPr/>
          <p:nvPr/>
        </p:nvGrpSpPr>
        <p:grpSpPr>
          <a:xfrm>
            <a:off x="6120798" y="5193833"/>
            <a:ext cx="2464833" cy="933792"/>
            <a:chOff x="4449387" y="4706053"/>
            <a:chExt cx="1952171" cy="670424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F2691B0-1B15-43CA-A42B-BB39E4CB779D}"/>
                </a:ext>
              </a:extLst>
            </p:cNvPr>
            <p:cNvSpPr/>
            <p:nvPr/>
          </p:nvSpPr>
          <p:spPr>
            <a:xfrm>
              <a:off x="4449387" y="5021174"/>
              <a:ext cx="1952171" cy="3553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Segoe UI Light" panose="020B0502040204020203" pitchFamily="34" charset="0"/>
                </a:rPr>
                <a:t>Associate</a:t>
              </a:r>
            </a:p>
            <a:p>
              <a:pPr>
                <a:lnSpc>
                  <a:spcPct val="120000"/>
                </a:lnSpc>
              </a:pP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  <a:cs typeface="Segoe UI Light" panose="020B0502040204020203" pitchFamily="34" charset="0"/>
                </a:rPr>
                <a:t>Prev. SSE Ventures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957ADFB-F094-4437-AFB0-27483741B272}"/>
                </a:ext>
              </a:extLst>
            </p:cNvPr>
            <p:cNvSpPr/>
            <p:nvPr/>
          </p:nvSpPr>
          <p:spPr>
            <a:xfrm>
              <a:off x="4449387" y="4706053"/>
              <a:ext cx="916901" cy="2651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IN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cs typeface="Segoe UI" panose="020B0502040204020203" pitchFamily="34" charset="0"/>
                </a:rPr>
                <a:t>Jim Wilson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C3415AD-9098-4770-8B20-34658B475271}"/>
              </a:ext>
            </a:extLst>
          </p:cNvPr>
          <p:cNvGrpSpPr/>
          <p:nvPr/>
        </p:nvGrpSpPr>
        <p:grpSpPr>
          <a:xfrm>
            <a:off x="9832349" y="5223926"/>
            <a:ext cx="2464833" cy="944802"/>
            <a:chOff x="4449387" y="4706052"/>
            <a:chExt cx="1952171" cy="670425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68D71F6E-394F-4B62-B54A-BF1F0EAF2F42}"/>
                </a:ext>
              </a:extLst>
            </p:cNvPr>
            <p:cNvSpPr/>
            <p:nvPr/>
          </p:nvSpPr>
          <p:spPr>
            <a:xfrm>
              <a:off x="4449387" y="5021174"/>
              <a:ext cx="1952171" cy="3553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Segoe UI Light" panose="020B0502040204020203" pitchFamily="34" charset="0"/>
                </a:rPr>
                <a:t>Associate</a:t>
              </a:r>
            </a:p>
            <a:p>
              <a:pPr>
                <a:lnSpc>
                  <a:spcPct val="120000"/>
                </a:lnSpc>
              </a:pP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  <a:cs typeface="Segoe UI Light" panose="020B0502040204020203" pitchFamily="34" charset="0"/>
                </a:rPr>
                <a:t>Prev. Clean Energy  Association, Canada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E6D99F6D-95BD-46D2-95F6-E2DAA43D90E9}"/>
                </a:ext>
              </a:extLst>
            </p:cNvPr>
            <p:cNvSpPr/>
            <p:nvPr/>
          </p:nvSpPr>
          <p:spPr>
            <a:xfrm>
              <a:off x="4449387" y="4706052"/>
              <a:ext cx="953211" cy="2651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IN" b="1" dirty="0">
                  <a:solidFill>
                    <a:schemeClr val="accent1">
                      <a:lumMod val="75000"/>
                    </a:schemeClr>
                  </a:solidFill>
                  <a:latin typeface="+mj-lt"/>
                  <a:cs typeface="Segoe UI" panose="020B0502040204020203" pitchFamily="34" charset="0"/>
                </a:rPr>
                <a:t>Jae Mather</a:t>
              </a:r>
            </a:p>
          </p:txBody>
        </p:sp>
      </p:grpSp>
      <p:pic>
        <p:nvPicPr>
          <p:cNvPr id="40" name="Picture 8">
            <a:extLst>
              <a:ext uri="{FF2B5EF4-FFF2-40B4-BE49-F238E27FC236}">
                <a16:creationId xmlns:a16="http://schemas.microsoft.com/office/drawing/2014/main" id="{E99720DB-97AF-4E55-9D7A-5B9906273A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83534" y="4987371"/>
            <a:ext cx="1369608" cy="1369608"/>
          </a:xfrm>
          <a:custGeom>
            <a:avLst/>
            <a:gdLst>
              <a:gd name="connsiteX0" fmla="*/ 618122 w 1236244"/>
              <a:gd name="connsiteY0" fmla="*/ 0 h 1236244"/>
              <a:gd name="connsiteX1" fmla="*/ 1236244 w 1236244"/>
              <a:gd name="connsiteY1" fmla="*/ 618122 h 1236244"/>
              <a:gd name="connsiteX2" fmla="*/ 618122 w 1236244"/>
              <a:gd name="connsiteY2" fmla="*/ 1236244 h 1236244"/>
              <a:gd name="connsiteX3" fmla="*/ 0 w 1236244"/>
              <a:gd name="connsiteY3" fmla="*/ 618122 h 1236244"/>
              <a:gd name="connsiteX4" fmla="*/ 618122 w 1236244"/>
              <a:gd name="connsiteY4" fmla="*/ 0 h 1236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6244" h="1236244">
                <a:moveTo>
                  <a:pt x="618122" y="0"/>
                </a:moveTo>
                <a:cubicBezTo>
                  <a:pt x="959501" y="0"/>
                  <a:pt x="1236244" y="276743"/>
                  <a:pt x="1236244" y="618122"/>
                </a:cubicBezTo>
                <a:cubicBezTo>
                  <a:pt x="1236244" y="959501"/>
                  <a:pt x="959501" y="1236244"/>
                  <a:pt x="618122" y="1236244"/>
                </a:cubicBezTo>
                <a:cubicBezTo>
                  <a:pt x="276743" y="1236244"/>
                  <a:pt x="0" y="959501"/>
                  <a:pt x="0" y="618122"/>
                </a:cubicBezTo>
                <a:cubicBezTo>
                  <a:pt x="0" y="276743"/>
                  <a:pt x="276743" y="0"/>
                  <a:pt x="61812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</p:pic>
      <p:pic>
        <p:nvPicPr>
          <p:cNvPr id="41" name="Picture 8">
            <a:extLst>
              <a:ext uri="{FF2B5EF4-FFF2-40B4-BE49-F238E27FC236}">
                <a16:creationId xmlns:a16="http://schemas.microsoft.com/office/drawing/2014/main" id="{A61807F1-B265-4759-B3FC-375C2C3F19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74106" y="4987371"/>
            <a:ext cx="1369608" cy="1369608"/>
          </a:xfrm>
          <a:custGeom>
            <a:avLst/>
            <a:gdLst>
              <a:gd name="connsiteX0" fmla="*/ 618122 w 1236244"/>
              <a:gd name="connsiteY0" fmla="*/ 0 h 1236244"/>
              <a:gd name="connsiteX1" fmla="*/ 1236244 w 1236244"/>
              <a:gd name="connsiteY1" fmla="*/ 618122 h 1236244"/>
              <a:gd name="connsiteX2" fmla="*/ 618122 w 1236244"/>
              <a:gd name="connsiteY2" fmla="*/ 1236244 h 1236244"/>
              <a:gd name="connsiteX3" fmla="*/ 0 w 1236244"/>
              <a:gd name="connsiteY3" fmla="*/ 618122 h 1236244"/>
              <a:gd name="connsiteX4" fmla="*/ 618122 w 1236244"/>
              <a:gd name="connsiteY4" fmla="*/ 0 h 1236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6244" h="1236244">
                <a:moveTo>
                  <a:pt x="618122" y="0"/>
                </a:moveTo>
                <a:cubicBezTo>
                  <a:pt x="959501" y="0"/>
                  <a:pt x="1236244" y="276743"/>
                  <a:pt x="1236244" y="618122"/>
                </a:cubicBezTo>
                <a:cubicBezTo>
                  <a:pt x="1236244" y="959501"/>
                  <a:pt x="959501" y="1236244"/>
                  <a:pt x="618122" y="1236244"/>
                </a:cubicBezTo>
                <a:cubicBezTo>
                  <a:pt x="276743" y="1236244"/>
                  <a:pt x="0" y="959501"/>
                  <a:pt x="0" y="618122"/>
                </a:cubicBezTo>
                <a:cubicBezTo>
                  <a:pt x="0" y="276743"/>
                  <a:pt x="276743" y="0"/>
                  <a:pt x="61812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15E3D21-85E1-4A79-899E-13015BAD401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1500" y="297033"/>
            <a:ext cx="3086269" cy="664951"/>
          </a:xfrm>
          <a:prstGeom prst="rect">
            <a:avLst/>
          </a:prstGeom>
        </p:spPr>
      </p:pic>
      <p:pic>
        <p:nvPicPr>
          <p:cNvPr id="43" name="Picture 4">
            <a:extLst>
              <a:ext uri="{FF2B5EF4-FFF2-40B4-BE49-F238E27FC236}">
                <a16:creationId xmlns:a16="http://schemas.microsoft.com/office/drawing/2014/main" id="{AC9ADE1B-0B3B-427D-800D-4F32373972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29283" y="3181941"/>
            <a:ext cx="1314431" cy="1314431"/>
          </a:xfrm>
          <a:custGeom>
            <a:avLst/>
            <a:gdLst>
              <a:gd name="connsiteX0" fmla="*/ 618122 w 1236244"/>
              <a:gd name="connsiteY0" fmla="*/ 0 h 1236244"/>
              <a:gd name="connsiteX1" fmla="*/ 1236244 w 1236244"/>
              <a:gd name="connsiteY1" fmla="*/ 618122 h 1236244"/>
              <a:gd name="connsiteX2" fmla="*/ 618122 w 1236244"/>
              <a:gd name="connsiteY2" fmla="*/ 1236244 h 1236244"/>
              <a:gd name="connsiteX3" fmla="*/ 0 w 1236244"/>
              <a:gd name="connsiteY3" fmla="*/ 618122 h 1236244"/>
              <a:gd name="connsiteX4" fmla="*/ 618122 w 1236244"/>
              <a:gd name="connsiteY4" fmla="*/ 0 h 1236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6244" h="1236244">
                <a:moveTo>
                  <a:pt x="618122" y="0"/>
                </a:moveTo>
                <a:cubicBezTo>
                  <a:pt x="959501" y="0"/>
                  <a:pt x="1236244" y="276743"/>
                  <a:pt x="1236244" y="618122"/>
                </a:cubicBezTo>
                <a:cubicBezTo>
                  <a:pt x="1236244" y="959501"/>
                  <a:pt x="959501" y="1236244"/>
                  <a:pt x="618122" y="1236244"/>
                </a:cubicBezTo>
                <a:cubicBezTo>
                  <a:pt x="276743" y="1236244"/>
                  <a:pt x="0" y="959501"/>
                  <a:pt x="0" y="618122"/>
                </a:cubicBezTo>
                <a:cubicBezTo>
                  <a:pt x="0" y="276743"/>
                  <a:pt x="276743" y="0"/>
                  <a:pt x="61812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148657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32">
            <a:extLst>
              <a:ext uri="{FF2B5EF4-FFF2-40B4-BE49-F238E27FC236}">
                <a16:creationId xmlns:a16="http://schemas.microsoft.com/office/drawing/2014/main" id="{A2FE61D5-F22B-40FB-863E-A0AAE7A44B07}"/>
              </a:ext>
            </a:extLst>
          </p:cNvPr>
          <p:cNvSpPr txBox="1"/>
          <p:nvPr/>
        </p:nvSpPr>
        <p:spPr>
          <a:xfrm>
            <a:off x="619824" y="2945798"/>
            <a:ext cx="3111643" cy="596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GB" sz="44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Innovation? 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B0E1B4F5-0196-468C-8A50-0DE4685E5455}"/>
              </a:ext>
            </a:extLst>
          </p:cNvPr>
          <p:cNvSpPr txBox="1">
            <a:spLocks/>
          </p:cNvSpPr>
          <p:nvPr/>
        </p:nvSpPr>
        <p:spPr>
          <a:xfrm>
            <a:off x="315155" y="654823"/>
            <a:ext cx="3546611" cy="1838321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2000" dirty="0">
                <a:solidFill>
                  <a:schemeClr val="accent2"/>
                </a:solidFill>
              </a:rPr>
              <a:t>A future generation mix dominated by renewables:</a:t>
            </a:r>
            <a:r>
              <a:rPr lang="en-GB" sz="1800" dirty="0">
                <a:solidFill>
                  <a:schemeClr val="accent2"/>
                </a:solidFill>
              </a:rPr>
              <a:t> </a:t>
            </a:r>
          </a:p>
          <a:p>
            <a:pPr marL="0" indent="0" algn="ctr">
              <a:buNone/>
            </a:pPr>
            <a:r>
              <a:rPr lang="en-GB" dirty="0">
                <a:solidFill>
                  <a:schemeClr val="tx2"/>
                </a:solidFill>
              </a:rPr>
              <a:t>How </a:t>
            </a:r>
            <a:r>
              <a:rPr lang="en-GB" i="1" dirty="0">
                <a:solidFill>
                  <a:schemeClr val="tx2"/>
                </a:solidFill>
              </a:rPr>
              <a:t>will</a:t>
            </a:r>
            <a:r>
              <a:rPr lang="en-GB" dirty="0">
                <a:solidFill>
                  <a:schemeClr val="tx2"/>
                </a:solidFill>
              </a:rPr>
              <a:t> we get there?  </a:t>
            </a:r>
            <a:endParaRPr lang="en-GB" sz="3200" dirty="0">
              <a:solidFill>
                <a:schemeClr val="tx2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74CB53-2CF3-4776-8CC9-CD2E7F55B84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1500" y="297033"/>
            <a:ext cx="3086269" cy="664951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78DF3EB0-6F28-40EC-87F4-07A11EA44765}"/>
              </a:ext>
            </a:extLst>
          </p:cNvPr>
          <p:cNvSpPr txBox="1">
            <a:spLocks/>
          </p:cNvSpPr>
          <p:nvPr/>
        </p:nvSpPr>
        <p:spPr>
          <a:xfrm>
            <a:off x="6630195" y="946305"/>
            <a:ext cx="1794444" cy="66495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GB" sz="1100" i="1" dirty="0"/>
              <a:t>Solar power with using micro-structures smaller than a human hair</a:t>
            </a:r>
            <a:endParaRPr lang="en-US" sz="1100" i="1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CC31003-A604-4F6F-BF4B-1A37B14947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6988" y="1606582"/>
            <a:ext cx="1467662" cy="1123610"/>
          </a:xfrm>
          <a:prstGeom prst="rect">
            <a:avLst/>
          </a:prstGeom>
        </p:spPr>
      </p:pic>
      <p:pic>
        <p:nvPicPr>
          <p:cNvPr id="28674" name="Picture 2">
            <a:extLst>
              <a:ext uri="{FF2B5EF4-FFF2-40B4-BE49-F238E27FC236}">
                <a16:creationId xmlns:a16="http://schemas.microsoft.com/office/drawing/2014/main" id="{7C0DF3A7-F093-434C-B423-2E36038E5B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5439" y="3520635"/>
            <a:ext cx="1901249" cy="1267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Subtitle 2">
            <a:extLst>
              <a:ext uri="{FF2B5EF4-FFF2-40B4-BE49-F238E27FC236}">
                <a16:creationId xmlns:a16="http://schemas.microsoft.com/office/drawing/2014/main" id="{0EA5FC00-4B55-4DEF-A924-B160533BBE7F}"/>
              </a:ext>
            </a:extLst>
          </p:cNvPr>
          <p:cNvSpPr txBox="1">
            <a:spLocks/>
          </p:cNvSpPr>
          <p:nvPr/>
        </p:nvSpPr>
        <p:spPr>
          <a:xfrm>
            <a:off x="5467799" y="3188160"/>
            <a:ext cx="1794444" cy="66495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1100" i="1" dirty="0"/>
              <a:t>Gravity  Storage</a:t>
            </a:r>
          </a:p>
        </p:txBody>
      </p:sp>
      <p:pic>
        <p:nvPicPr>
          <p:cNvPr id="28676" name="Picture 4" descr="Energy saving - Pumped hydro storage solves UK Nuclear headache ...">
            <a:extLst>
              <a:ext uri="{FF2B5EF4-FFF2-40B4-BE49-F238E27FC236}">
                <a16:creationId xmlns:a16="http://schemas.microsoft.com/office/drawing/2014/main" id="{42947C28-6405-4D0A-A0C5-5BCCB0E90C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63763" y="4294866"/>
            <a:ext cx="2140502" cy="1225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ubtitle 2">
            <a:extLst>
              <a:ext uri="{FF2B5EF4-FFF2-40B4-BE49-F238E27FC236}">
                <a16:creationId xmlns:a16="http://schemas.microsoft.com/office/drawing/2014/main" id="{1F0FB56C-98B0-47A9-911C-00A36BD9D4A1}"/>
              </a:ext>
            </a:extLst>
          </p:cNvPr>
          <p:cNvSpPr txBox="1">
            <a:spLocks/>
          </p:cNvSpPr>
          <p:nvPr/>
        </p:nvSpPr>
        <p:spPr>
          <a:xfrm>
            <a:off x="10039580" y="3992020"/>
            <a:ext cx="1794444" cy="66495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1100" i="1" dirty="0"/>
              <a:t>Pumped Storage Hydro</a:t>
            </a:r>
          </a:p>
        </p:txBody>
      </p:sp>
      <p:pic>
        <p:nvPicPr>
          <p:cNvPr id="28678" name="Picture 6" descr="Startup Aims to Prevent EV Charging From Overloading the Grid ...">
            <a:extLst>
              <a:ext uri="{FF2B5EF4-FFF2-40B4-BE49-F238E27FC236}">
                <a16:creationId xmlns:a16="http://schemas.microsoft.com/office/drawing/2014/main" id="{FC6A0BB1-CFDA-4A96-AA79-ED8BC9211A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4374" y="1569882"/>
            <a:ext cx="1943294" cy="1130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B86BCD8E-C170-4CB9-8A5A-77ECEB7810FA}"/>
              </a:ext>
            </a:extLst>
          </p:cNvPr>
          <p:cNvSpPr txBox="1">
            <a:spLocks/>
          </p:cNvSpPr>
          <p:nvPr/>
        </p:nvSpPr>
        <p:spPr>
          <a:xfrm>
            <a:off x="7949102" y="2816449"/>
            <a:ext cx="1794444" cy="60450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1100" i="1" dirty="0"/>
              <a:t>Grid Balancing</a:t>
            </a:r>
          </a:p>
        </p:txBody>
      </p:sp>
      <p:pic>
        <p:nvPicPr>
          <p:cNvPr id="28680" name="Picture 8" descr="Highview Power to Develop Multiple Cryogenic Energy Storage ...">
            <a:extLst>
              <a:ext uri="{FF2B5EF4-FFF2-40B4-BE49-F238E27FC236}">
                <a16:creationId xmlns:a16="http://schemas.microsoft.com/office/drawing/2014/main" id="{EC4BF4A5-6A43-4BAA-9C36-D4467A6832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5120" y="5220963"/>
            <a:ext cx="2063553" cy="1265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ubtitle 2">
            <a:extLst>
              <a:ext uri="{FF2B5EF4-FFF2-40B4-BE49-F238E27FC236}">
                <a16:creationId xmlns:a16="http://schemas.microsoft.com/office/drawing/2014/main" id="{563CF410-470B-4975-B5CD-359C93CB443C}"/>
              </a:ext>
            </a:extLst>
          </p:cNvPr>
          <p:cNvSpPr txBox="1">
            <a:spLocks/>
          </p:cNvSpPr>
          <p:nvPr/>
        </p:nvSpPr>
        <p:spPr>
          <a:xfrm>
            <a:off x="7663429" y="4909509"/>
            <a:ext cx="1794444" cy="66495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1100" i="1" dirty="0"/>
              <a:t>Cryogenic Air Storag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25E25C6-7440-44A2-B90B-830CD8486F30}"/>
              </a:ext>
            </a:extLst>
          </p:cNvPr>
          <p:cNvSpPr txBox="1">
            <a:spLocks/>
          </p:cNvSpPr>
          <p:nvPr/>
        </p:nvSpPr>
        <p:spPr>
          <a:xfrm>
            <a:off x="4197433" y="4933697"/>
            <a:ext cx="2574834" cy="71715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1100" i="1" dirty="0"/>
              <a:t>Thermal and compressed air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ED1AFFE6-D07A-492D-8402-6A816D50BA3C}"/>
              </a:ext>
            </a:extLst>
          </p:cNvPr>
          <p:cNvSpPr txBox="1">
            <a:spLocks/>
          </p:cNvSpPr>
          <p:nvPr/>
        </p:nvSpPr>
        <p:spPr>
          <a:xfrm>
            <a:off x="9650041" y="1275312"/>
            <a:ext cx="1794444" cy="66495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1100" i="1" dirty="0"/>
              <a:t>Vehicle to Grid</a:t>
            </a:r>
          </a:p>
        </p:txBody>
      </p:sp>
      <p:pic>
        <p:nvPicPr>
          <p:cNvPr id="28686" name="Picture 14" descr="Cheesecake Energy Ltd">
            <a:extLst>
              <a:ext uri="{FF2B5EF4-FFF2-40B4-BE49-F238E27FC236}">
                <a16:creationId xmlns:a16="http://schemas.microsoft.com/office/drawing/2014/main" id="{E7F5D6E9-0D3B-429D-B7EB-47525FB444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9632" y="5219895"/>
            <a:ext cx="1541625" cy="1541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88" name="Picture 16" descr="Grid—Balancing act | ORNL">
            <a:extLst>
              <a:ext uri="{FF2B5EF4-FFF2-40B4-BE49-F238E27FC236}">
                <a16:creationId xmlns:a16="http://schemas.microsoft.com/office/drawing/2014/main" id="{1003A84B-E7F5-4CBC-8899-78731A91B2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3101" y="3111887"/>
            <a:ext cx="1400655" cy="1145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690" name="Picture 18" descr="MPS sets new crowdfunding goal after raising £1.5 million ...">
            <a:extLst>
              <a:ext uri="{FF2B5EF4-FFF2-40B4-BE49-F238E27FC236}">
                <a16:creationId xmlns:a16="http://schemas.microsoft.com/office/drawing/2014/main" id="{B2638E9B-66E5-442B-B5F1-C6AB3E0B91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5992" y="1896672"/>
            <a:ext cx="2208944" cy="1242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ubtitle 2">
            <a:extLst>
              <a:ext uri="{FF2B5EF4-FFF2-40B4-BE49-F238E27FC236}">
                <a16:creationId xmlns:a16="http://schemas.microsoft.com/office/drawing/2014/main" id="{8B27CB6E-754D-457D-9F1C-51192FD8DB1B}"/>
              </a:ext>
            </a:extLst>
          </p:cNvPr>
          <p:cNvSpPr txBox="1">
            <a:spLocks/>
          </p:cNvSpPr>
          <p:nvPr/>
        </p:nvSpPr>
        <p:spPr>
          <a:xfrm>
            <a:off x="4260186" y="1624253"/>
            <a:ext cx="1794444" cy="60450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1100" i="1" dirty="0"/>
              <a:t>Hybrid Wind &amp; Wave</a:t>
            </a:r>
          </a:p>
        </p:txBody>
      </p:sp>
      <p:pic>
        <p:nvPicPr>
          <p:cNvPr id="28692" name="Picture 20" descr="Radbot - Posts | Facebook">
            <a:extLst>
              <a:ext uri="{FF2B5EF4-FFF2-40B4-BE49-F238E27FC236}">
                <a16:creationId xmlns:a16="http://schemas.microsoft.com/office/drawing/2014/main" id="{B58C50ED-2B5E-430F-A126-012086EF70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8687" y="3823846"/>
            <a:ext cx="1410704" cy="1410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Subtitle 2">
            <a:extLst>
              <a:ext uri="{FF2B5EF4-FFF2-40B4-BE49-F238E27FC236}">
                <a16:creationId xmlns:a16="http://schemas.microsoft.com/office/drawing/2014/main" id="{A2099138-51A8-4E9A-816F-8695CA1A305B}"/>
              </a:ext>
            </a:extLst>
          </p:cNvPr>
          <p:cNvSpPr txBox="1">
            <a:spLocks/>
          </p:cNvSpPr>
          <p:nvPr/>
        </p:nvSpPr>
        <p:spPr>
          <a:xfrm>
            <a:off x="2825630" y="3535767"/>
            <a:ext cx="1794444" cy="66495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US" sz="1100" i="1" dirty="0"/>
              <a:t>Energy Efficiency</a:t>
            </a:r>
          </a:p>
        </p:txBody>
      </p:sp>
      <p:pic>
        <p:nvPicPr>
          <p:cNvPr id="28694" name="Picture 22" descr="The researchers powered a green LED using their Pedot-coated bricks">
            <a:extLst>
              <a:ext uri="{FF2B5EF4-FFF2-40B4-BE49-F238E27FC236}">
                <a16:creationId xmlns:a16="http://schemas.microsoft.com/office/drawing/2014/main" id="{F6AAEBFF-AF7E-4B38-A7F8-2A5333CBC3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583" y="5368328"/>
            <a:ext cx="1836717" cy="1292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Subtitle 2">
            <a:extLst>
              <a:ext uri="{FF2B5EF4-FFF2-40B4-BE49-F238E27FC236}">
                <a16:creationId xmlns:a16="http://schemas.microsoft.com/office/drawing/2014/main" id="{72CD8122-1041-46EF-A3F0-E46E6F5E2808}"/>
              </a:ext>
            </a:extLst>
          </p:cNvPr>
          <p:cNvSpPr txBox="1">
            <a:spLocks/>
          </p:cNvSpPr>
          <p:nvPr/>
        </p:nvSpPr>
        <p:spPr>
          <a:xfrm>
            <a:off x="651135" y="5086097"/>
            <a:ext cx="2574834" cy="71715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en-GB" sz="1100" dirty="0" err="1"/>
              <a:t>Pedot</a:t>
            </a:r>
            <a:r>
              <a:rPr lang="en-GB" sz="1100" dirty="0"/>
              <a:t>-coated bricks</a:t>
            </a:r>
            <a:endParaRPr lang="en-US" sz="300" i="1" dirty="0"/>
          </a:p>
        </p:txBody>
      </p:sp>
    </p:spTree>
    <p:extLst>
      <p:ext uri="{BB962C8B-B14F-4D97-AF65-F5344CB8AC3E}">
        <p14:creationId xmlns:p14="http://schemas.microsoft.com/office/powerpoint/2010/main" val="2782010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86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86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86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86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86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86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86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86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86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12" grpId="0"/>
      <p:bldP spid="5" grpId="0"/>
      <p:bldP spid="6" grpId="0"/>
      <p:bldP spid="7" grpId="0"/>
      <p:bldP spid="9" grpId="0"/>
      <p:bldP spid="11" grpId="0"/>
      <p:bldP spid="14" grpId="0"/>
      <p:bldP spid="17" grpId="0"/>
      <p:bldP spid="40" grpId="0"/>
      <p:bldP spid="4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32">
            <a:extLst>
              <a:ext uri="{FF2B5EF4-FFF2-40B4-BE49-F238E27FC236}">
                <a16:creationId xmlns:a16="http://schemas.microsoft.com/office/drawing/2014/main" id="{A2FE61D5-F22B-40FB-863E-A0AAE7A44B07}"/>
              </a:ext>
            </a:extLst>
          </p:cNvPr>
          <p:cNvSpPr txBox="1"/>
          <p:nvPr/>
        </p:nvSpPr>
        <p:spPr>
          <a:xfrm>
            <a:off x="544640" y="2996127"/>
            <a:ext cx="3111643" cy="596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GB" sz="44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Investment? </a:t>
            </a: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B0E1B4F5-0196-468C-8A50-0DE4685E5455}"/>
              </a:ext>
            </a:extLst>
          </p:cNvPr>
          <p:cNvSpPr txBox="1">
            <a:spLocks/>
          </p:cNvSpPr>
          <p:nvPr/>
        </p:nvSpPr>
        <p:spPr>
          <a:xfrm>
            <a:off x="315155" y="654823"/>
            <a:ext cx="3546611" cy="1838321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2000" dirty="0">
                <a:solidFill>
                  <a:schemeClr val="accent2"/>
                </a:solidFill>
              </a:rPr>
              <a:t>A future generation mix dominated by renewables:</a:t>
            </a:r>
            <a:r>
              <a:rPr lang="en-GB" sz="1800" dirty="0">
                <a:solidFill>
                  <a:schemeClr val="accent2"/>
                </a:solidFill>
              </a:rPr>
              <a:t> </a:t>
            </a:r>
          </a:p>
          <a:p>
            <a:pPr marL="0" indent="0" algn="ctr">
              <a:buNone/>
            </a:pPr>
            <a:r>
              <a:rPr lang="en-GB" dirty="0">
                <a:solidFill>
                  <a:schemeClr val="tx2"/>
                </a:solidFill>
              </a:rPr>
              <a:t>How </a:t>
            </a:r>
            <a:r>
              <a:rPr lang="en-GB" i="1" dirty="0">
                <a:solidFill>
                  <a:schemeClr val="tx2"/>
                </a:solidFill>
              </a:rPr>
              <a:t>will</a:t>
            </a:r>
            <a:r>
              <a:rPr lang="en-GB" dirty="0">
                <a:solidFill>
                  <a:schemeClr val="tx2"/>
                </a:solidFill>
              </a:rPr>
              <a:t> we get there?  </a:t>
            </a:r>
            <a:endParaRPr lang="en-GB" sz="3200" dirty="0">
              <a:solidFill>
                <a:schemeClr val="tx2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74CB53-2CF3-4776-8CC9-CD2E7F55B84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1500" y="297033"/>
            <a:ext cx="3086269" cy="664951"/>
          </a:xfrm>
          <a:prstGeom prst="rect">
            <a:avLst/>
          </a:prstGeom>
        </p:spPr>
      </p:pic>
      <p:pic>
        <p:nvPicPr>
          <p:cNvPr id="26626" name="Picture 2">
            <a:extLst>
              <a:ext uri="{FF2B5EF4-FFF2-40B4-BE49-F238E27FC236}">
                <a16:creationId xmlns:a16="http://schemas.microsoft.com/office/drawing/2014/main" id="{D60DB042-E76C-4D10-9036-05042FAA91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0428" y="1287903"/>
            <a:ext cx="5404206" cy="3416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Image result for how much money is there in the world 2020">
            <a:extLst>
              <a:ext uri="{FF2B5EF4-FFF2-40B4-BE49-F238E27FC236}">
                <a16:creationId xmlns:a16="http://schemas.microsoft.com/office/drawing/2014/main" id="{07DFAFAC-021B-434A-AB3D-F03B016EF0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640" y="4095876"/>
            <a:ext cx="2309392" cy="1838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D774BB4-27B0-4BC8-88B4-DBA5D6E5C831}"/>
              </a:ext>
            </a:extLst>
          </p:cNvPr>
          <p:cNvSpPr txBox="1"/>
          <p:nvPr/>
        </p:nvSpPr>
        <p:spPr>
          <a:xfrm>
            <a:off x="4239914" y="5047540"/>
            <a:ext cx="7357903" cy="6864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GB" i="1" dirty="0"/>
              <a:t>Dwarfed by UK Public spending on </a:t>
            </a:r>
            <a:r>
              <a:rPr lang="en-GB" i="1" dirty="0" err="1"/>
              <a:t>Covid</a:t>
            </a:r>
            <a:r>
              <a:rPr lang="en-GB" i="1" dirty="0"/>
              <a:t>: </a:t>
            </a:r>
            <a:r>
              <a:rPr lang="en-GB" dirty="0"/>
              <a:t>“…set to rocket past £1 trillion for the first time this year as ministers pour taxpayer money into tackling the health and economic crises sparked by Covid-19.” 	    </a:t>
            </a:r>
            <a:r>
              <a:rPr lang="en-GB" sz="1100" b="1" dirty="0"/>
              <a:t>Source: The Telegraph June 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75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6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B0E1B4F5-0196-468C-8A50-0DE4685E5455}"/>
              </a:ext>
            </a:extLst>
          </p:cNvPr>
          <p:cNvSpPr txBox="1">
            <a:spLocks/>
          </p:cNvSpPr>
          <p:nvPr/>
        </p:nvSpPr>
        <p:spPr>
          <a:xfrm>
            <a:off x="315155" y="654823"/>
            <a:ext cx="3546611" cy="1838321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2000" dirty="0">
                <a:solidFill>
                  <a:schemeClr val="accent2"/>
                </a:solidFill>
              </a:rPr>
              <a:t>A future generation mix dominated by renewables:</a:t>
            </a:r>
            <a:r>
              <a:rPr lang="en-GB" sz="1800" dirty="0">
                <a:solidFill>
                  <a:schemeClr val="accent2"/>
                </a:solidFill>
              </a:rPr>
              <a:t> </a:t>
            </a:r>
          </a:p>
          <a:p>
            <a:pPr marL="0" indent="0" algn="ctr">
              <a:buNone/>
            </a:pPr>
            <a:r>
              <a:rPr lang="en-GB" dirty="0">
                <a:solidFill>
                  <a:schemeClr val="tx2"/>
                </a:solidFill>
              </a:rPr>
              <a:t>How </a:t>
            </a:r>
            <a:r>
              <a:rPr lang="en-GB" i="1" dirty="0">
                <a:solidFill>
                  <a:schemeClr val="tx2"/>
                </a:solidFill>
              </a:rPr>
              <a:t>will</a:t>
            </a:r>
            <a:r>
              <a:rPr lang="en-GB" dirty="0">
                <a:solidFill>
                  <a:schemeClr val="tx2"/>
                </a:solidFill>
              </a:rPr>
              <a:t> we get there?  </a:t>
            </a:r>
            <a:endParaRPr lang="en-GB" sz="3200" dirty="0">
              <a:solidFill>
                <a:schemeClr val="tx2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74CB53-2CF3-4776-8CC9-CD2E7F55B84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1500" y="297033"/>
            <a:ext cx="3086269" cy="664951"/>
          </a:xfrm>
          <a:prstGeom prst="rect">
            <a:avLst/>
          </a:prstGeom>
        </p:spPr>
      </p:pic>
      <p:pic>
        <p:nvPicPr>
          <p:cNvPr id="27650" name="Picture 2" descr="Image result for how much money is there in the world 2020">
            <a:extLst>
              <a:ext uri="{FF2B5EF4-FFF2-40B4-BE49-F238E27FC236}">
                <a16:creationId xmlns:a16="http://schemas.microsoft.com/office/drawing/2014/main" id="{679E1667-9828-42D4-8544-2595C7DE52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4936" y="3661550"/>
            <a:ext cx="2802429" cy="2230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698" name="Picture 2" descr="ᐈ A skeleton key stock images, Royalty Free skeleton key pictures ...">
            <a:extLst>
              <a:ext uri="{FF2B5EF4-FFF2-40B4-BE49-F238E27FC236}">
                <a16:creationId xmlns:a16="http://schemas.microsoft.com/office/drawing/2014/main" id="{11B00620-9FEC-4253-9AFD-665DCFBCD1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6096000" y="4303416"/>
            <a:ext cx="1655281" cy="1231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BCB8576-6C01-4AAB-9E08-27E7CF9A7FD3}"/>
              </a:ext>
            </a:extLst>
          </p:cNvPr>
          <p:cNvSpPr txBox="1"/>
          <p:nvPr/>
        </p:nvSpPr>
        <p:spPr>
          <a:xfrm>
            <a:off x="524091" y="2948536"/>
            <a:ext cx="3111643" cy="596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GB" sz="44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Policy?</a:t>
            </a:r>
          </a:p>
        </p:txBody>
      </p:sp>
      <p:pic>
        <p:nvPicPr>
          <p:cNvPr id="29704" name="Picture 8" descr="Outcome of the G7 Summit in Biarritz (France) | Gouvernement.fr">
            <a:extLst>
              <a:ext uri="{FF2B5EF4-FFF2-40B4-BE49-F238E27FC236}">
                <a16:creationId xmlns:a16="http://schemas.microsoft.com/office/drawing/2014/main" id="{CED99414-F0D2-44EB-837F-4000E38E97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9671" y="4059808"/>
            <a:ext cx="4034319" cy="1807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4C5A7C3-2DF4-4A27-951A-B25FF899738B}"/>
              </a:ext>
            </a:extLst>
          </p:cNvPr>
          <p:cNvSpPr txBox="1"/>
          <p:nvPr/>
        </p:nvSpPr>
        <p:spPr>
          <a:xfrm>
            <a:off x="4383750" y="1718705"/>
            <a:ext cx="7357903" cy="2986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GB" i="1" dirty="0">
                <a:latin typeface="+mj-lt"/>
              </a:rPr>
              <a:t>Set a Carbon price and make it stick? </a:t>
            </a:r>
            <a:r>
              <a:rPr lang="en-GB" sz="1400" dirty="0">
                <a:solidFill>
                  <a:srgbClr val="222222"/>
                </a:solidFill>
                <a:latin typeface="+mj-lt"/>
              </a:rPr>
              <a:t>	</a:t>
            </a:r>
            <a:r>
              <a:rPr lang="en-GB" dirty="0">
                <a:solidFill>
                  <a:srgbClr val="222222"/>
                </a:solidFill>
                <a:latin typeface="+mj-lt"/>
              </a:rPr>
              <a:t>	</a:t>
            </a:r>
            <a:endParaRPr lang="en-GB" sz="900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7CBFAEF-C520-480F-AD1C-E00DC544F065}"/>
              </a:ext>
            </a:extLst>
          </p:cNvPr>
          <p:cNvSpPr txBox="1"/>
          <p:nvPr/>
        </p:nvSpPr>
        <p:spPr>
          <a:xfrm>
            <a:off x="4385461" y="2891690"/>
            <a:ext cx="7357902" cy="643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GB" i="1" dirty="0">
                <a:latin typeface="+mj-lt"/>
              </a:rPr>
              <a:t>Stop back door subsidies to fossil fuel interests? </a:t>
            </a:r>
            <a:r>
              <a:rPr lang="en-GB" sz="1400" dirty="0">
                <a:latin typeface="+mj-lt"/>
              </a:rPr>
              <a:t>“Over the last seven years, the UK has </a:t>
            </a:r>
            <a:r>
              <a:rPr lang="en-GB" sz="1400" dirty="0">
                <a:latin typeface="+mj-lt"/>
                <a:hlinkClick r:id="rId6"/>
              </a:rPr>
              <a:t>spent 60% of its overseas support for energy investment in developing countries on fossil fuels</a:t>
            </a:r>
            <a:r>
              <a:rPr lang="en-GB" sz="1400" dirty="0">
                <a:latin typeface="+mj-lt"/>
              </a:rPr>
              <a:t>, with more than £4.6bn spent.”</a:t>
            </a:r>
            <a:r>
              <a:rPr lang="en-GB" dirty="0">
                <a:latin typeface="+mj-lt"/>
              </a:rPr>
              <a:t>	                                                                               </a:t>
            </a:r>
            <a:r>
              <a:rPr lang="en-GB" sz="900" b="1" dirty="0">
                <a:solidFill>
                  <a:srgbClr val="222222"/>
                </a:solidFill>
                <a:latin typeface="+mj-lt"/>
              </a:rPr>
              <a:t>Source: Edie.net</a:t>
            </a:r>
            <a:endParaRPr lang="en-GB" sz="900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6966667-967C-47AD-8356-ED44ADD49C5F}"/>
              </a:ext>
            </a:extLst>
          </p:cNvPr>
          <p:cNvSpPr txBox="1"/>
          <p:nvPr/>
        </p:nvSpPr>
        <p:spPr>
          <a:xfrm>
            <a:off x="1649107" y="5919129"/>
            <a:ext cx="7357903" cy="2986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GB" sz="1200" dirty="0">
                <a:solidFill>
                  <a:srgbClr val="222222"/>
                </a:solidFill>
                <a:latin typeface="+mj-lt"/>
              </a:rPr>
              <a:t>How old (if still alive) will the current G7 leaders be in 2050?</a:t>
            </a:r>
            <a:r>
              <a:rPr lang="en-GB" sz="1400" dirty="0">
                <a:solidFill>
                  <a:srgbClr val="222222"/>
                </a:solidFill>
                <a:latin typeface="+mj-lt"/>
              </a:rPr>
              <a:t>	</a:t>
            </a:r>
            <a:r>
              <a:rPr lang="en-GB" dirty="0">
                <a:solidFill>
                  <a:srgbClr val="222222"/>
                </a:solidFill>
                <a:latin typeface="+mj-lt"/>
              </a:rPr>
              <a:t>	</a:t>
            </a:r>
            <a:endParaRPr lang="en-GB" sz="900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355ECF0-AD23-47E8-95D8-2401D0148638}"/>
              </a:ext>
            </a:extLst>
          </p:cNvPr>
          <p:cNvSpPr txBox="1"/>
          <p:nvPr/>
        </p:nvSpPr>
        <p:spPr>
          <a:xfrm>
            <a:off x="4392314" y="2526344"/>
            <a:ext cx="7357903" cy="2986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GB" i="1" dirty="0">
                <a:latin typeface="+mj-lt"/>
              </a:rPr>
              <a:t>Greater incentives to unlock investment. Tax climate damaging behaviours?</a:t>
            </a:r>
            <a:endParaRPr lang="en-GB" sz="900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6322C77-8ED7-4444-9C9E-DAE977744A2D}"/>
              </a:ext>
            </a:extLst>
          </p:cNvPr>
          <p:cNvSpPr txBox="1"/>
          <p:nvPr/>
        </p:nvSpPr>
        <p:spPr>
          <a:xfrm>
            <a:off x="4390604" y="2033773"/>
            <a:ext cx="7357903" cy="492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70000"/>
              </a:lnSpc>
            </a:pPr>
            <a:r>
              <a:rPr lang="en-GB" i="1" dirty="0">
                <a:latin typeface="+mj-lt"/>
              </a:rPr>
              <a:t>Prioritise skills training in renewables and related industries. Put people to work? </a:t>
            </a:r>
            <a:endParaRPr lang="en-GB" sz="900" b="1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949398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97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6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96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5" grpId="0"/>
      <p:bldP spid="17" grpId="0"/>
      <p:bldP spid="18" grpId="0"/>
      <p:bldP spid="19" grpId="0"/>
      <p:bldP spid="2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B0E1B4F5-0196-468C-8A50-0DE4685E5455}"/>
              </a:ext>
            </a:extLst>
          </p:cNvPr>
          <p:cNvSpPr txBox="1">
            <a:spLocks/>
          </p:cNvSpPr>
          <p:nvPr/>
        </p:nvSpPr>
        <p:spPr>
          <a:xfrm>
            <a:off x="315155" y="654823"/>
            <a:ext cx="3546611" cy="1838321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2000" dirty="0">
                <a:solidFill>
                  <a:schemeClr val="accent2"/>
                </a:solidFill>
              </a:rPr>
              <a:t>A future generation mix dominated by renewables:</a:t>
            </a:r>
            <a:r>
              <a:rPr lang="en-GB" sz="1800" dirty="0">
                <a:solidFill>
                  <a:schemeClr val="accent2"/>
                </a:solidFill>
              </a:rPr>
              <a:t> </a:t>
            </a:r>
          </a:p>
          <a:p>
            <a:pPr marL="0" indent="0" algn="ctr">
              <a:buNone/>
            </a:pPr>
            <a:r>
              <a:rPr lang="en-GB" sz="3200" i="1" dirty="0">
                <a:solidFill>
                  <a:schemeClr val="tx2"/>
                </a:solidFill>
              </a:rPr>
              <a:t>Will</a:t>
            </a:r>
            <a:r>
              <a:rPr lang="en-GB" sz="3200" dirty="0">
                <a:solidFill>
                  <a:schemeClr val="tx2"/>
                </a:solidFill>
              </a:rPr>
              <a:t> we get there?  </a:t>
            </a:r>
            <a:endParaRPr lang="en-GB" sz="3600" dirty="0">
              <a:solidFill>
                <a:schemeClr val="tx2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74CB53-2CF3-4776-8CC9-CD2E7F55B84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1500" y="297033"/>
            <a:ext cx="3086269" cy="664951"/>
          </a:xfrm>
          <a:prstGeom prst="rect">
            <a:avLst/>
          </a:prstGeom>
        </p:spPr>
      </p:pic>
      <p:pic>
        <p:nvPicPr>
          <p:cNvPr id="27650" name="Picture 2" descr="Image result for how much money is there in the world 2020">
            <a:extLst>
              <a:ext uri="{FF2B5EF4-FFF2-40B4-BE49-F238E27FC236}">
                <a16:creationId xmlns:a16="http://schemas.microsoft.com/office/drawing/2014/main" id="{679E1667-9828-42D4-8544-2595C7DE52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0842" y="2519998"/>
            <a:ext cx="2802429" cy="2230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698" name="Picture 2" descr="ᐈ A skeleton key stock images, Royalty Free skeleton key pictures ...">
            <a:extLst>
              <a:ext uri="{FF2B5EF4-FFF2-40B4-BE49-F238E27FC236}">
                <a16:creationId xmlns:a16="http://schemas.microsoft.com/office/drawing/2014/main" id="{11B00620-9FEC-4253-9AFD-665DCFBCD1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1633595" y="2954707"/>
            <a:ext cx="1655281" cy="1231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0435E1D-0C73-4F77-AF07-70BC9433F4AC}"/>
              </a:ext>
            </a:extLst>
          </p:cNvPr>
          <p:cNvSpPr txBox="1"/>
          <p:nvPr/>
        </p:nvSpPr>
        <p:spPr>
          <a:xfrm>
            <a:off x="6819489" y="2035361"/>
            <a:ext cx="4204682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400" dirty="0">
                <a:solidFill>
                  <a:srgbClr val="121212"/>
                </a:solidFill>
                <a:effectLst/>
                <a:latin typeface="GH Guardian Headline"/>
              </a:rPr>
              <a:t>We can have as many meetings as we like, but </a:t>
            </a:r>
            <a:r>
              <a:rPr lang="en-GB" sz="2400" dirty="0">
                <a:solidFill>
                  <a:srgbClr val="121212"/>
                </a:solidFill>
                <a:latin typeface="GH Guardian Headline"/>
              </a:rPr>
              <a:t>unless</a:t>
            </a:r>
            <a:r>
              <a:rPr lang="en-GB" sz="2400" dirty="0">
                <a:solidFill>
                  <a:srgbClr val="121212"/>
                </a:solidFill>
                <a:effectLst/>
                <a:latin typeface="GH Guardian Headline"/>
              </a:rPr>
              <a:t> the will </a:t>
            </a:r>
            <a:r>
              <a:rPr lang="en-GB" sz="2400" dirty="0">
                <a:solidFill>
                  <a:srgbClr val="121212"/>
                </a:solidFill>
                <a:latin typeface="GH Guardian Headline"/>
              </a:rPr>
              <a:t>for significant</a:t>
            </a:r>
            <a:r>
              <a:rPr lang="en-GB" sz="2400" dirty="0">
                <a:solidFill>
                  <a:srgbClr val="121212"/>
                </a:solidFill>
                <a:effectLst/>
                <a:latin typeface="GH Guardian Headline"/>
              </a:rPr>
              <a:t> change is there, Net Zero will be a challenge to achieve in most of our lifetimes, if at all. </a:t>
            </a:r>
          </a:p>
          <a:p>
            <a:endParaRPr lang="en-GB" sz="2400" dirty="0">
              <a:solidFill>
                <a:srgbClr val="121212"/>
              </a:solidFill>
              <a:latin typeface="GH Guardian Headline"/>
            </a:endParaRPr>
          </a:p>
          <a:p>
            <a:r>
              <a:rPr lang="en-GB" sz="2400" dirty="0">
                <a:solidFill>
                  <a:srgbClr val="121212"/>
                </a:solidFill>
                <a:effectLst/>
                <a:latin typeface="GH Guardian Headline"/>
              </a:rPr>
              <a:t>Society must start </a:t>
            </a:r>
            <a:r>
              <a:rPr lang="en-GB" sz="2400" i="1" dirty="0">
                <a:solidFill>
                  <a:srgbClr val="121212"/>
                </a:solidFill>
                <a:effectLst/>
                <a:latin typeface="GH Guardian Headline"/>
              </a:rPr>
              <a:t>really </a:t>
            </a:r>
            <a:r>
              <a:rPr lang="en-GB" sz="2400" dirty="0">
                <a:solidFill>
                  <a:srgbClr val="121212"/>
                </a:solidFill>
                <a:effectLst/>
                <a:latin typeface="GH Guardian Headline"/>
              </a:rPr>
              <a:t>treating this as a crisis </a:t>
            </a:r>
            <a:r>
              <a:rPr lang="en-GB" sz="2400">
                <a:solidFill>
                  <a:srgbClr val="121212"/>
                </a:solidFill>
                <a:effectLst/>
                <a:latin typeface="GH Guardian Headline"/>
              </a:rPr>
              <a:t>– think </a:t>
            </a:r>
            <a:r>
              <a:rPr lang="en-GB" sz="2400" dirty="0">
                <a:solidFill>
                  <a:srgbClr val="121212"/>
                </a:solidFill>
                <a:effectLst/>
                <a:latin typeface="GH Guardian Headline"/>
              </a:rPr>
              <a:t>positive, think smart, think shorter timelines, think like our lives depend on it</a:t>
            </a:r>
            <a:r>
              <a:rPr lang="en-GB" sz="2000" dirty="0">
                <a:solidFill>
                  <a:srgbClr val="121212"/>
                </a:solidFill>
                <a:effectLst/>
                <a:latin typeface="GH Guardian Headline"/>
              </a:rPr>
              <a:t>. 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788494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6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6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378D3FE-FB84-4672-821B-0661938256B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9911" y="938643"/>
            <a:ext cx="5048632" cy="108775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FBDED99-09EE-4623-A5CA-27FF92A9BA1A}"/>
              </a:ext>
            </a:extLst>
          </p:cNvPr>
          <p:cNvSpPr/>
          <p:nvPr/>
        </p:nvSpPr>
        <p:spPr>
          <a:xfrm>
            <a:off x="6149991" y="5110255"/>
            <a:ext cx="3847863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i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</a:p>
          <a:p>
            <a:pPr algn="ctr"/>
            <a:endParaRPr lang="en-US" i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  <a:p>
            <a:pPr algn="ctr"/>
            <a:r>
              <a:rPr lang="en-US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Robert Hokin</a:t>
            </a:r>
          </a:p>
          <a:p>
            <a:pPr algn="ctr"/>
            <a:r>
              <a:rPr lang="en-US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Managing Partner</a:t>
            </a:r>
          </a:p>
          <a:p>
            <a:pPr algn="ctr"/>
            <a:endParaRPr lang="en-GB" sz="1400" i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  <a:p>
            <a:pPr algn="ctr"/>
            <a:r>
              <a:rPr lang="en-GB" sz="1400" i="1" dirty="0">
                <a:solidFill>
                  <a:schemeClr val="bg2">
                    <a:lumMod val="25000"/>
                  </a:schemeClr>
                </a:solidFill>
                <a:latin typeface="Century Gothic" panose="020B0502020202020204" pitchFamily="34" charset="0"/>
              </a:rPr>
              <a:t>robert.hokin@greenbackers.com</a:t>
            </a:r>
            <a:endParaRPr lang="en-US" sz="1400" i="1" dirty="0">
              <a:solidFill>
                <a:schemeClr val="bg2">
                  <a:lumMod val="2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25" name="Picture Placeholder 35">
            <a:extLst>
              <a:ext uri="{FF2B5EF4-FFF2-40B4-BE49-F238E27FC236}">
                <a16:creationId xmlns:a16="http://schemas.microsoft.com/office/drawing/2014/main" id="{FC2C3F48-F88D-41FD-ADD5-4BDBCC34DDD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06" y="-19774"/>
            <a:ext cx="4021381" cy="6891748"/>
          </a:xfrm>
          <a:prstGeom prst="rect">
            <a:avLst/>
          </a:prstGeom>
          <a:solidFill>
            <a:schemeClr val="bg1">
              <a:lumMod val="95000"/>
              <a:alpha val="30000"/>
            </a:schemeClr>
          </a:solidFill>
        </p:spPr>
      </p:pic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519615A1-F7DF-4986-9C4D-3B7999196EAC}"/>
              </a:ext>
            </a:extLst>
          </p:cNvPr>
          <p:cNvSpPr txBox="1">
            <a:spLocks/>
          </p:cNvSpPr>
          <p:nvPr/>
        </p:nvSpPr>
        <p:spPr>
          <a:xfrm>
            <a:off x="6390209" y="2506939"/>
            <a:ext cx="3546611" cy="1838321"/>
          </a:xfrm>
          <a:prstGeom prst="rect">
            <a:avLst/>
          </a:prstGeom>
        </p:spPr>
        <p:txBody>
          <a:bodyPr/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800" dirty="0">
                <a:solidFill>
                  <a:schemeClr val="accent2"/>
                </a:solidFill>
              </a:rPr>
              <a:t>A future generation mix dominated by renewables:</a:t>
            </a:r>
            <a:r>
              <a:rPr lang="en-GB" sz="1600" dirty="0">
                <a:solidFill>
                  <a:schemeClr val="accent2"/>
                </a:solidFill>
              </a:rPr>
              <a:t> </a:t>
            </a:r>
          </a:p>
          <a:p>
            <a:pPr marL="0" indent="0" algn="ctr">
              <a:buNone/>
            </a:pPr>
            <a:r>
              <a:rPr lang="en-GB" sz="2400" dirty="0">
                <a:solidFill>
                  <a:schemeClr val="tx2"/>
                </a:solidFill>
              </a:rPr>
              <a:t>How will we get there?</a:t>
            </a:r>
          </a:p>
          <a:p>
            <a:pPr marL="0" indent="0" algn="ctr">
              <a:buNone/>
            </a:pPr>
            <a:endParaRPr lang="en-GB" dirty="0">
              <a:solidFill>
                <a:schemeClr val="tx2"/>
              </a:solidFill>
            </a:endParaRPr>
          </a:p>
          <a:p>
            <a:pPr marL="0" indent="0" algn="ctr">
              <a:buNone/>
            </a:pPr>
            <a:r>
              <a:rPr lang="en-GB" sz="4000" i="1" dirty="0">
                <a:solidFill>
                  <a:schemeClr val="tx2"/>
                </a:solidFill>
              </a:rPr>
              <a:t>Thank you!</a:t>
            </a:r>
            <a:r>
              <a:rPr lang="en-GB" i="1" dirty="0">
                <a:solidFill>
                  <a:schemeClr val="tx2"/>
                </a:solidFill>
              </a:rPr>
              <a:t>  </a:t>
            </a:r>
            <a:endParaRPr lang="en-GB" sz="3200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3697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aster Solar Impulse">
  <a:themeElements>
    <a:clrScheme name="Personnalisé 1">
      <a:dk1>
        <a:srgbClr val="000000"/>
      </a:dk1>
      <a:lt1>
        <a:srgbClr val="FFFFFF"/>
      </a:lt1>
      <a:dk2>
        <a:srgbClr val="8D9399"/>
      </a:dk2>
      <a:lt2>
        <a:srgbClr val="173E5B"/>
      </a:lt2>
      <a:accent1>
        <a:srgbClr val="FFFFFF"/>
      </a:accent1>
      <a:accent2>
        <a:srgbClr val="DEE0E3"/>
      </a:accent2>
      <a:accent3>
        <a:srgbClr val="8D9399"/>
      </a:accent3>
      <a:accent4>
        <a:srgbClr val="FF9300"/>
      </a:accent4>
      <a:accent5>
        <a:srgbClr val="96AECA"/>
      </a:accent5>
      <a:accent6>
        <a:srgbClr val="156C9C"/>
      </a:accent6>
      <a:hlink>
        <a:srgbClr val="8D9399"/>
      </a:hlink>
      <a:folHlink>
        <a:srgbClr val="96AECA"/>
      </a:folHlink>
    </a:clrScheme>
    <a:fontScheme name="SOLARIMPULSE">
      <a:majorFont>
        <a:latin typeface="Bebas Kai"/>
        <a:ea typeface="Bebas Kai"/>
        <a:cs typeface="Bebas Kai"/>
      </a:majorFont>
      <a:minorFont>
        <a:latin typeface="Bebas Kai"/>
        <a:ea typeface="Bebas Kai"/>
        <a:cs typeface="Bebas Kai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12700">
          <a:miter lim="400000"/>
        </a:ln>
        <a:extLst>
          <a:ext uri="{C572A759-6A51-4108-AA02-DFA0A04FC94B}">
            <ma14:wrappingTextBoxFlag xmlns:ma14="http://schemas.microsoft.com/office/mac/drawingml/2011/main" xmlns="" val="1"/>
          </a:ext>
        </a:extLst>
      </a:spPr>
      <a:bodyPr lIns="0" tIns="0" rIns="0" bIns="0">
        <a:spAutoFit/>
      </a:bodyPr>
      <a:lstStyle>
        <a:defPPr defTabSz="825500" fontAlgn="auto" hangingPunct="0">
          <a:lnSpc>
            <a:spcPct val="90000"/>
          </a:lnSpc>
          <a:spcBef>
            <a:spcPts val="0"/>
          </a:spcBef>
          <a:spcAft>
            <a:spcPts val="0"/>
          </a:spcAft>
          <a:defRPr sz="2200" b="0" kern="0" dirty="0">
            <a:solidFill>
              <a:srgbClr val="173E5B"/>
            </a:solidFill>
            <a:latin typeface="DIN-Regular"/>
            <a:ea typeface="DIN-Regular"/>
            <a:cs typeface="DIN-Regular"/>
            <a:sym typeface="DIN-Regular"/>
          </a:defRPr>
        </a:defPPr>
      </a:lst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vert="horz" wrap="square" lIns="0" tIns="0" rIns="0" bIns="0" rtlCol="0">
        <a:spAutoFit/>
      </a:bodyPr>
      <a:lstStyle>
        <a:defPPr>
          <a:lnSpc>
            <a:spcPct val="90000"/>
          </a:lnSpc>
          <a:spcBef>
            <a:spcPts val="400"/>
          </a:spcBef>
          <a:buClr>
            <a:srgbClr val="000000"/>
          </a:buClr>
          <a:buSzPct val="100000"/>
          <a:defRPr sz="1500" b="0" noProof="0" dirty="0" smtClean="0">
            <a:latin typeface="+mn-lt"/>
            <a:cs typeface="Arial Narrow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4_MACO 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B87191A244D149B0A9AF7BC0FCB299" ma:contentTypeVersion="9" ma:contentTypeDescription="Create a new document." ma:contentTypeScope="" ma:versionID="c0cd175ba39d710338e18c74ff9ec026">
  <xsd:schema xmlns:xsd="http://www.w3.org/2001/XMLSchema" xmlns:xs="http://www.w3.org/2001/XMLSchema" xmlns:p="http://schemas.microsoft.com/office/2006/metadata/properties" xmlns:ns3="c3ee7a2c-b04d-467f-b5e3-dba9d8a3815d" targetNamespace="http://schemas.microsoft.com/office/2006/metadata/properties" ma:root="true" ma:fieldsID="80e29941a8fd79d10c88b71822d1e026" ns3:_="">
    <xsd:import namespace="c3ee7a2c-b04d-467f-b5e3-dba9d8a3815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ee7a2c-b04d-467f-b5e3-dba9d8a381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8B21BB7-82B2-49B7-BA90-13C7076F535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0595C8B-3A48-454C-9A41-F53781E11725}">
  <ds:schemaRefs>
    <ds:schemaRef ds:uri="http://purl.org/dc/dcmitype/"/>
    <ds:schemaRef ds:uri="http://purl.org/dc/terms/"/>
    <ds:schemaRef ds:uri="c3ee7a2c-b04d-467f-b5e3-dba9d8a3815d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B264EBE6-0ACC-4F24-8B91-C629E5F202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3ee7a2c-b04d-467f-b5e3-dba9d8a3815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9014</TotalTime>
  <Words>473</Words>
  <Application>Microsoft Office PowerPoint</Application>
  <PresentationFormat>Widescreen</PresentationFormat>
  <Paragraphs>81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6" baseType="lpstr">
      <vt:lpstr>Arial</vt:lpstr>
      <vt:lpstr>Arial Narrow</vt:lpstr>
      <vt:lpstr>Bebas Kai</vt:lpstr>
      <vt:lpstr>Calibri</vt:lpstr>
      <vt:lpstr>Calibri Light</vt:lpstr>
      <vt:lpstr>Century Gothic</vt:lpstr>
      <vt:lpstr>DIN Alternate</vt:lpstr>
      <vt:lpstr>DIN-Medium</vt:lpstr>
      <vt:lpstr>DIN-Regular</vt:lpstr>
      <vt:lpstr>GH Guardian Headline</vt:lpstr>
      <vt:lpstr>Helvetica</vt:lpstr>
      <vt:lpstr>Montserrat</vt:lpstr>
      <vt:lpstr>Montserrat Light</vt:lpstr>
      <vt:lpstr>Office Theme</vt:lpstr>
      <vt:lpstr>Master Solar Impulse</vt:lpstr>
      <vt:lpstr>4_MACO 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therine Hokin</dc:creator>
  <cp:lastModifiedBy>Robert Hokin</cp:lastModifiedBy>
  <cp:revision>191</cp:revision>
  <cp:lastPrinted>2020-04-09T07:56:15Z</cp:lastPrinted>
  <dcterms:created xsi:type="dcterms:W3CDTF">2014-10-31T12:42:24Z</dcterms:created>
  <dcterms:modified xsi:type="dcterms:W3CDTF">2020-08-19T18:18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B87191A244D149B0A9AF7BC0FCB299</vt:lpwstr>
  </property>
</Properties>
</file>